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theme/theme3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theme/theme4.xml" ContentType="application/vnd.openxmlformats-officedocument.them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theme/theme5.xml" ContentType="application/vnd.openxmlformats-officedocument.theme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theme/theme6.xml" ContentType="application/vnd.openxmlformats-officedocument.theme+xml"/>
  <Override PartName="/ppt/tags/tag41.xml" ContentType="application/vnd.openxmlformats-officedocument.presentationml.tags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theme/theme7.xml" ContentType="application/vnd.openxmlformats-officedocument.theme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theme/theme8.xml" ContentType="application/vnd.openxmlformats-officedocument.theme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theme/theme9.xml" ContentType="application/vnd.openxmlformats-officedocument.theme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heme/theme10.xml" ContentType="application/vnd.openxmlformats-officedocument.theme+xml"/>
  <Override PartName="/ppt/theme/theme11.xml" ContentType="application/vnd.openxmlformats-officedocument.theme+xml"/>
  <Override PartName="/ppt/tags/tag76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4"/>
    <p:sldMasterId id="2147483812" r:id="rId5"/>
    <p:sldMasterId id="2147483896" r:id="rId6"/>
    <p:sldMasterId id="2147483927" r:id="rId7"/>
    <p:sldMasterId id="2147483948" r:id="rId8"/>
    <p:sldMasterId id="2147483965" r:id="rId9"/>
    <p:sldMasterId id="2147483971" r:id="rId10"/>
    <p:sldMasterId id="2147483977" r:id="rId11"/>
    <p:sldMasterId id="2147483992" r:id="rId12"/>
  </p:sldMasterIdLst>
  <p:notesMasterIdLst>
    <p:notesMasterId r:id="rId19"/>
  </p:notesMasterIdLst>
  <p:handoutMasterIdLst>
    <p:handoutMasterId r:id="rId20"/>
  </p:handoutMasterIdLst>
  <p:sldIdLst>
    <p:sldId id="960" r:id="rId13"/>
    <p:sldId id="963" r:id="rId14"/>
    <p:sldId id="961" r:id="rId15"/>
    <p:sldId id="964" r:id="rId16"/>
    <p:sldId id="966" r:id="rId17"/>
    <p:sldId id="967" r:id="rId18"/>
  </p:sldIdLst>
  <p:sldSz cx="12192000" cy="6858000"/>
  <p:notesSz cx="6858000" cy="9144000"/>
  <p:custDataLst>
    <p:tags r:id="rId21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776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 userDrawn="1">
          <p15:clr>
            <a:srgbClr val="A4A3A4"/>
          </p15:clr>
        </p15:guide>
        <p15:guide id="2" pos="2160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Tobias Fichter" initials="TF" lastIdx="3" clrIdx="0">
    <p:extLst>
      <p:ext uri="{19B8F6BF-5375-455C-9EA6-DF929625EA0E}">
        <p15:presenceInfo xmlns:p15="http://schemas.microsoft.com/office/powerpoint/2012/main" userId="Tobias Fichter" providerId="None"/>
      </p:ext>
    </p:extLst>
  </p:cmAuthor>
  <p:cmAuthor id="2" name="Ana Lucia Amazo Blanco" initials="ALAB" lastIdx="1" clrIdx="1">
    <p:extLst>
      <p:ext uri="{19B8F6BF-5375-455C-9EA6-DF929625EA0E}">
        <p15:presenceInfo xmlns:p15="http://schemas.microsoft.com/office/powerpoint/2012/main" userId="Ana Lucia Amazo Blanco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635C5B"/>
    <a:srgbClr val="FF9900"/>
    <a:srgbClr val="FFFFFF"/>
    <a:srgbClr val="651D32"/>
    <a:srgbClr val="BA0C2F"/>
    <a:srgbClr val="E7E7E5"/>
    <a:srgbClr val="002F6C"/>
    <a:srgbClr val="D9D7D3"/>
    <a:srgbClr val="CFCDC9"/>
    <a:srgbClr val="6C646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12C8C85-51F0-491E-9774-3900AFEF0FD7}" styleName="Light Style 2 - Accent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6353" autoAdjust="0"/>
    <p:restoredTop sz="96400" autoAdjust="0"/>
  </p:normalViewPr>
  <p:slideViewPr>
    <p:cSldViewPr snapToObjects="1">
      <p:cViewPr varScale="1">
        <p:scale>
          <a:sx n="67" d="100"/>
          <a:sy n="67" d="100"/>
        </p:scale>
        <p:origin x="592" y="48"/>
      </p:cViewPr>
      <p:guideLst>
        <p:guide orient="horz" pos="2160"/>
        <p:guide pos="3776"/>
      </p:guideLst>
    </p:cSldViewPr>
  </p:slideViewPr>
  <p:outlineViewPr>
    <p:cViewPr>
      <p:scale>
        <a:sx n="33" d="100"/>
        <a:sy n="33" d="100"/>
      </p:scale>
      <p:origin x="0" y="-601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-10332"/>
    </p:cViewPr>
  </p:sorterViewPr>
  <p:notesViewPr>
    <p:cSldViewPr snapToObjects="1" showGuides="1">
      <p:cViewPr varScale="1">
        <p:scale>
          <a:sx n="87" d="100"/>
          <a:sy n="87" d="100"/>
        </p:scale>
        <p:origin x="3840" y="90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slide" Target="slides/slide1.xml"/><Relationship Id="rId18" Type="http://schemas.openxmlformats.org/officeDocument/2006/relationships/slide" Target="slides/slide6.xml"/><Relationship Id="rId26" Type="http://schemas.openxmlformats.org/officeDocument/2006/relationships/tableStyles" Target="tableStyles.xml"/><Relationship Id="rId3" Type="http://schemas.openxmlformats.org/officeDocument/2006/relationships/customXml" Target="../customXml/item3.xml"/><Relationship Id="rId21" Type="http://schemas.openxmlformats.org/officeDocument/2006/relationships/tags" Target="tags/tag1.xml"/><Relationship Id="rId7" Type="http://schemas.openxmlformats.org/officeDocument/2006/relationships/slideMaster" Target="slideMasters/slideMaster4.xml"/><Relationship Id="rId12" Type="http://schemas.openxmlformats.org/officeDocument/2006/relationships/slideMaster" Target="slideMasters/slideMaster9.xml"/><Relationship Id="rId17" Type="http://schemas.openxmlformats.org/officeDocument/2006/relationships/slide" Target="slides/slide5.xml"/><Relationship Id="rId25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slide" Target="slides/slide4.xml"/><Relationship Id="rId20" Type="http://schemas.openxmlformats.org/officeDocument/2006/relationships/handoutMaster" Target="handoutMasters/handoutMaster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Master" Target="slideMasters/slideMaster8.xml"/><Relationship Id="rId24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3.xml"/><Relationship Id="rId23" Type="http://schemas.openxmlformats.org/officeDocument/2006/relationships/presProps" Target="presProps.xml"/><Relationship Id="rId10" Type="http://schemas.openxmlformats.org/officeDocument/2006/relationships/slideMaster" Target="slideMasters/slideMaster7.xml"/><Relationship Id="rId19" Type="http://schemas.openxmlformats.org/officeDocument/2006/relationships/notesMaster" Target="notesMasters/notesMaster1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" Target="slides/slide2.xml"/><Relationship Id="rId22" Type="http://schemas.openxmlformats.org/officeDocument/2006/relationships/commentAuthors" Target="commentAuthor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2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1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64D9E48-5E7F-D24C-87D5-695B18367D24}" type="datetimeFigureOut">
              <a:rPr lang="en-US" smtClean="0"/>
              <a:t>7/3/2020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6CB10C2-C6DD-5A4A-BF1B-B012B8BA4284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9797590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0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86357CE-B3EB-1B4A-84E5-C1E2DF427ABD}" type="datetimeFigureOut">
              <a:rPr lang="en-US" smtClean="0"/>
              <a:t>7/3/2020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24A558B-E4E9-A94A-B9C1-029E46A76ABA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68937988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24A558B-E4E9-A94A-B9C1-029E46A76AB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60421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24A558B-E4E9-A94A-B9C1-029E46A76AB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1323146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24A558B-E4E9-A94A-B9C1-029E46A76AB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0068362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2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58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6.jpeg"/><Relationship Id="rId5" Type="http://schemas.openxmlformats.org/officeDocument/2006/relationships/image" Target="../media/image5.emf"/><Relationship Id="rId4" Type="http://schemas.openxmlformats.org/officeDocument/2006/relationships/oleObject" Target="../embeddings/oleObject19.bin"/></Relationships>
</file>

<file path=ppt/slideLayouts/_rels/slideLayout10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7" Type="http://schemas.openxmlformats.org/officeDocument/2006/relationships/image" Target="../media/image6.jpeg"/><Relationship Id="rId2" Type="http://schemas.openxmlformats.org/officeDocument/2006/relationships/tags" Target="../tags/tag59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14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20.bin"/></Relationships>
</file>

<file path=ppt/slideLayouts/_rels/slideLayout1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9.xml"/></Relationships>
</file>

<file path=ppt/slideLayouts/_rels/slideLayout104.xml.rels><?xml version="1.0" encoding="UTF-8" standalone="yes"?>
<Relationships xmlns="http://schemas.openxmlformats.org/package/2006/relationships"><Relationship Id="rId3" Type="http://schemas.openxmlformats.org/officeDocument/2006/relationships/tags" Target="../tags/tag65.xml"/><Relationship Id="rId2" Type="http://schemas.openxmlformats.org/officeDocument/2006/relationships/tags" Target="../tags/tag64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22.bin"/><Relationship Id="rId4" Type="http://schemas.openxmlformats.org/officeDocument/2006/relationships/slideMaster" Target="../slideMasters/slideMaster9.xml"/></Relationships>
</file>

<file path=ppt/slideLayouts/_rels/slideLayout10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9.xml"/><Relationship Id="rId1" Type="http://schemas.openxmlformats.org/officeDocument/2006/relationships/tags" Target="../tags/tag66.xml"/></Relationships>
</file>

<file path=ppt/slideLayouts/_rels/slideLayout10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jpg"/><Relationship Id="rId1" Type="http://schemas.openxmlformats.org/officeDocument/2006/relationships/slideMaster" Target="../slideMasters/slideMaster9.xml"/><Relationship Id="rId4" Type="http://schemas.openxmlformats.org/officeDocument/2006/relationships/image" Target="../media/image15.png"/></Relationships>
</file>

<file path=ppt/slideLayouts/_rels/slideLayout10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9.xml"/><Relationship Id="rId1" Type="http://schemas.openxmlformats.org/officeDocument/2006/relationships/tags" Target="../tags/tag67.xml"/></Relationships>
</file>

<file path=ppt/slideLayouts/_rels/slideLayout10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9.xml"/><Relationship Id="rId1" Type="http://schemas.openxmlformats.org/officeDocument/2006/relationships/tags" Target="../tags/tag68.xml"/></Relationships>
</file>

<file path=ppt/slideLayouts/_rels/slideLayout10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9.xml"/><Relationship Id="rId1" Type="http://schemas.openxmlformats.org/officeDocument/2006/relationships/tags" Target="../tags/tag69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2.xml"/></Relationships>
</file>

<file path=ppt/slideLayouts/_rels/slideLayout11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9.xml"/><Relationship Id="rId1" Type="http://schemas.openxmlformats.org/officeDocument/2006/relationships/tags" Target="../tags/tag70.xml"/></Relationships>
</file>

<file path=ppt/slideLayouts/_rels/slideLayout11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9.xml"/><Relationship Id="rId1" Type="http://schemas.openxmlformats.org/officeDocument/2006/relationships/tags" Target="../tags/tag71.xml"/></Relationships>
</file>

<file path=ppt/slideLayouts/_rels/slideLayout11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9.xml"/><Relationship Id="rId1" Type="http://schemas.openxmlformats.org/officeDocument/2006/relationships/tags" Target="../tags/tag72.xml"/></Relationships>
</file>

<file path=ppt/slideLayouts/_rels/slideLayout11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9.xml"/><Relationship Id="rId1" Type="http://schemas.openxmlformats.org/officeDocument/2006/relationships/tags" Target="../tags/tag73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74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6.jpeg"/><Relationship Id="rId5" Type="http://schemas.openxmlformats.org/officeDocument/2006/relationships/image" Target="../media/image5.emf"/><Relationship Id="rId4" Type="http://schemas.openxmlformats.org/officeDocument/2006/relationships/oleObject" Target="../embeddings/oleObject23.bin"/></Relationships>
</file>

<file path=ppt/slideLayouts/_rels/slideLayout1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7" Type="http://schemas.openxmlformats.org/officeDocument/2006/relationships/image" Target="../media/image6.jpeg"/><Relationship Id="rId2" Type="http://schemas.openxmlformats.org/officeDocument/2006/relationships/tags" Target="../tags/tag75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14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24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6.jpeg"/><Relationship Id="rId5" Type="http://schemas.openxmlformats.org/officeDocument/2006/relationships/image" Target="../media/image5.emf"/><Relationship Id="rId4" Type="http://schemas.openxmlformats.org/officeDocument/2006/relationships/oleObject" Target="../embeddings/oleObject3.bin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6.jpeg"/><Relationship Id="rId5" Type="http://schemas.openxmlformats.org/officeDocument/2006/relationships/image" Target="../media/image5.emf"/><Relationship Id="rId4" Type="http://schemas.openxmlformats.org/officeDocument/2006/relationships/oleObject" Target="../embeddings/oleObject4.bin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4.xml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tags" Target="../tags/tag14.xml"/><Relationship Id="rId2" Type="http://schemas.openxmlformats.org/officeDocument/2006/relationships/tags" Target="../tags/tag13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4.xml"/></Relationships>
</file>

<file path=ppt/slideLayouts/_rels/slideLayout5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15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jp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15.png"/></Relationships>
</file>

<file path=ppt/slideLayouts/_rels/slideLayout5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16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17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18.xml"/></Relationships>
</file>

<file path=ppt/slideLayouts/_rels/slideLayout6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19.xml"/></Relationships>
</file>

<file path=ppt/slideLayouts/_rels/slideLayout6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20.xml"/></Relationships>
</file>

<file path=ppt/slideLayouts/_rels/slideLayout6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21.xml"/></Relationships>
</file>

<file path=ppt/slideLayouts/_rels/slideLayout6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22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23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6.jpeg"/><Relationship Id="rId5" Type="http://schemas.openxmlformats.org/officeDocument/2006/relationships/image" Target="../media/image5.emf"/><Relationship Id="rId4" Type="http://schemas.openxmlformats.org/officeDocument/2006/relationships/oleObject" Target="../embeddings/oleObject8.bin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6.jpeg"/><Relationship Id="rId2" Type="http://schemas.openxmlformats.org/officeDocument/2006/relationships/tags" Target="../tags/tag24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4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9.bin"/></Relationships>
</file>

<file path=ppt/slideLayouts/_rels/slideLayout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5.xml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tags" Target="../tags/tag30.xml"/><Relationship Id="rId2" Type="http://schemas.openxmlformats.org/officeDocument/2006/relationships/tags" Target="../tags/tag29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5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7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5.xml"/><Relationship Id="rId1" Type="http://schemas.openxmlformats.org/officeDocument/2006/relationships/tags" Target="../tags/tag31.xml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jp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15.png"/></Relationships>
</file>

<file path=ppt/slideLayouts/_rels/slideLayout7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5.xml"/><Relationship Id="rId1" Type="http://schemas.openxmlformats.org/officeDocument/2006/relationships/tags" Target="../tags/tag32.xml"/></Relationships>
</file>

<file path=ppt/slideLayouts/_rels/slideLayout7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5.xml"/><Relationship Id="rId1" Type="http://schemas.openxmlformats.org/officeDocument/2006/relationships/tags" Target="../tags/tag33.xml"/></Relationships>
</file>

<file path=ppt/slideLayouts/_rels/slideLayout7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5.xml"/><Relationship Id="rId1" Type="http://schemas.openxmlformats.org/officeDocument/2006/relationships/tags" Target="../tags/tag34.xml"/></Relationships>
</file>

<file path=ppt/slideLayouts/_rels/slideLayout7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5.xml"/><Relationship Id="rId1" Type="http://schemas.openxmlformats.org/officeDocument/2006/relationships/tags" Target="../tags/tag35.xml"/></Relationships>
</file>

<file path=ppt/slideLayouts/_rels/slideLayout7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5.xml"/><Relationship Id="rId1" Type="http://schemas.openxmlformats.org/officeDocument/2006/relationships/tags" Target="../tags/tag36.xml"/></Relationships>
</file>

<file path=ppt/slideLayouts/_rels/slideLayout7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5.xml"/><Relationship Id="rId1" Type="http://schemas.openxmlformats.org/officeDocument/2006/relationships/tags" Target="../tags/tag37.xml"/></Relationships>
</file>

<file path=ppt/slideLayouts/_rels/slideLayout7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5.xml"/><Relationship Id="rId1" Type="http://schemas.openxmlformats.org/officeDocument/2006/relationships/tags" Target="../tags/tag38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39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6.jpeg"/><Relationship Id="rId5" Type="http://schemas.openxmlformats.org/officeDocument/2006/relationships/image" Target="../media/image5.emf"/><Relationship Id="rId4" Type="http://schemas.openxmlformats.org/officeDocument/2006/relationships/oleObject" Target="../embeddings/oleObject12.bin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7" Type="http://schemas.openxmlformats.org/officeDocument/2006/relationships/image" Target="../media/image6.jpeg"/><Relationship Id="rId2" Type="http://schemas.openxmlformats.org/officeDocument/2006/relationships/tags" Target="../tags/tag40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4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13.bin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6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6.xml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3.jp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21.png"/></Relationships>
</file>

<file path=ppt/slideLayouts/_rels/slideLayout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7.xml"/></Relationships>
</file>

<file path=ppt/slideLayouts/_rels/slideLayout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7.xml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43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17.png"/><Relationship Id="rId5" Type="http://schemas.openxmlformats.org/officeDocument/2006/relationships/image" Target="../media/image22.emf"/><Relationship Id="rId4" Type="http://schemas.openxmlformats.org/officeDocument/2006/relationships/oleObject" Target="../embeddings/oleObject16.bin"/></Relationships>
</file>

<file path=ppt/slideLayouts/_rels/slideLayout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3.jpg"/><Relationship Id="rId1" Type="http://schemas.openxmlformats.org/officeDocument/2006/relationships/slideMaster" Target="../slideMasters/slideMaster7.xml"/><Relationship Id="rId4" Type="http://schemas.openxmlformats.org/officeDocument/2006/relationships/image" Target="../media/image21.png"/></Relationships>
</file>

<file path=ppt/slideLayouts/_rels/slideLayout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8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0.xml.rels><?xml version="1.0" encoding="UTF-8" standalone="yes"?>
<Relationships xmlns="http://schemas.openxmlformats.org/package/2006/relationships"><Relationship Id="rId3" Type="http://schemas.openxmlformats.org/officeDocument/2006/relationships/tags" Target="../tags/tag49.xml"/><Relationship Id="rId2" Type="http://schemas.openxmlformats.org/officeDocument/2006/relationships/tags" Target="../tags/tag48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18.bin"/><Relationship Id="rId4" Type="http://schemas.openxmlformats.org/officeDocument/2006/relationships/slideMaster" Target="../slideMasters/slideMaster8.xml"/></Relationships>
</file>

<file path=ppt/slideLayouts/_rels/slideLayout9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8.xml"/><Relationship Id="rId1" Type="http://schemas.openxmlformats.org/officeDocument/2006/relationships/tags" Target="../tags/tag50.xml"/></Relationships>
</file>

<file path=ppt/slideLayouts/_rels/slideLayout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jp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15.png"/></Relationships>
</file>

<file path=ppt/slideLayouts/_rels/slideLayout9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8.xml"/><Relationship Id="rId1" Type="http://schemas.openxmlformats.org/officeDocument/2006/relationships/tags" Target="../tags/tag51.xml"/></Relationships>
</file>

<file path=ppt/slideLayouts/_rels/slideLayout9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8.xml"/><Relationship Id="rId1" Type="http://schemas.openxmlformats.org/officeDocument/2006/relationships/tags" Target="../tags/tag52.xml"/></Relationships>
</file>

<file path=ppt/slideLayouts/_rels/slideLayout9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8.xml"/><Relationship Id="rId1" Type="http://schemas.openxmlformats.org/officeDocument/2006/relationships/tags" Target="../tags/tag53.xml"/></Relationships>
</file>

<file path=ppt/slideLayouts/_rels/slideLayout9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8.xml"/><Relationship Id="rId1" Type="http://schemas.openxmlformats.org/officeDocument/2006/relationships/tags" Target="../tags/tag54.xml"/></Relationships>
</file>

<file path=ppt/slideLayouts/_rels/slideLayout9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8.xml"/><Relationship Id="rId1" Type="http://schemas.openxmlformats.org/officeDocument/2006/relationships/tags" Target="../tags/tag55.xml"/></Relationships>
</file>

<file path=ppt/slideLayouts/_rels/slideLayout9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8.xml"/><Relationship Id="rId1" Type="http://schemas.openxmlformats.org/officeDocument/2006/relationships/tags" Target="../tags/tag56.xml"/></Relationships>
</file>

<file path=ppt/slideLayouts/_rels/slideLayout9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8.xml"/><Relationship Id="rId1" Type="http://schemas.openxmlformats.org/officeDocument/2006/relationships/tags" Target="../tags/tag57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- Full Photo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Placeholder 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3200" y="153462"/>
            <a:ext cx="11785600" cy="6553200"/>
          </a:xfrm>
          <a:prstGeom prst="rect">
            <a:avLst/>
          </a:prstGeom>
          <a:solidFill>
            <a:srgbClr val="CFCDC9"/>
          </a:solidFill>
        </p:spPr>
      </p:pic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203200" y="6520934"/>
            <a:ext cx="2844800" cy="184666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l">
              <a:defRPr sz="600" b="0" i="0">
                <a:solidFill>
                  <a:srgbClr val="FFFFFF"/>
                </a:solidFill>
                <a:latin typeface="Gill Sans MT"/>
                <a:cs typeface="Gill Sans MT"/>
              </a:defRPr>
            </a:lvl1pPr>
          </a:lstStyle>
          <a:p>
            <a:endParaRPr lang="en-US" dirty="0"/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144000" y="6520934"/>
            <a:ext cx="2844800" cy="184666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r">
              <a:defRPr sz="600" b="0" i="0">
                <a:solidFill>
                  <a:srgbClr val="FFFFFF"/>
                </a:solidFill>
                <a:latin typeface="Gill Sans MT"/>
                <a:cs typeface="Gill Sans MT"/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Title 1"/>
          <p:cNvSpPr>
            <a:spLocks noGrp="1"/>
          </p:cNvSpPr>
          <p:nvPr>
            <p:ph type="ctrTitle" hasCustomPrompt="1"/>
          </p:nvPr>
        </p:nvSpPr>
        <p:spPr>
          <a:xfrm>
            <a:off x="914400" y="2133600"/>
            <a:ext cx="7315200" cy="1600200"/>
          </a:xfrm>
          <a:effectLst>
            <a:outerShdw blurRad="254000" dir="2700000" algn="tl" rotWithShape="0">
              <a:srgbClr val="000000">
                <a:alpha val="20000"/>
              </a:srgbClr>
            </a:outerShdw>
          </a:effectLst>
        </p:spPr>
        <p:txBody>
          <a:bodyPr anchor="b" anchorCtr="0">
            <a:normAutofit/>
          </a:bodyPr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914400" y="4114800"/>
            <a:ext cx="4572000" cy="1600200"/>
          </a:xfrm>
          <a:effectLst>
            <a:outerShdw blurRad="254000" dir="5400000" algn="tl" rotWithShape="0">
              <a:srgbClr val="000000">
                <a:alpha val="40000"/>
              </a:srgbClr>
            </a:outerShdw>
          </a:effectLst>
        </p:spPr>
        <p:txBody>
          <a:bodyPr>
            <a:normAutofit/>
          </a:bodyPr>
          <a:lstStyle>
            <a:lvl1pPr marL="0" indent="0" algn="l">
              <a:buNone/>
              <a:defRPr sz="180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 rot="16200000">
            <a:off x="10494089" y="1431666"/>
            <a:ext cx="2743200" cy="184666"/>
          </a:xfrm>
        </p:spPr>
        <p:txBody>
          <a:bodyPr>
            <a:spAutoFit/>
          </a:bodyPr>
          <a:lstStyle>
            <a:lvl1pPr marL="0" indent="0" algn="r">
              <a:buNone/>
              <a:defRPr sz="600" baseline="0">
                <a:solidFill>
                  <a:schemeClr val="bg1"/>
                </a:solidFill>
              </a:defRPr>
            </a:lvl1pPr>
            <a:lvl2pPr marL="230187" indent="0">
              <a:buNone/>
              <a:defRPr sz="1800">
                <a:solidFill>
                  <a:schemeClr val="bg1"/>
                </a:solidFill>
              </a:defRPr>
            </a:lvl2pPr>
            <a:lvl3pPr marL="460375" indent="0">
              <a:buNone/>
              <a:defRPr sz="1600">
                <a:solidFill>
                  <a:schemeClr val="bg1"/>
                </a:solidFill>
              </a:defRPr>
            </a:lvl3pPr>
            <a:lvl4pPr marL="684212" indent="0">
              <a:buNone/>
              <a:defRPr sz="1400">
                <a:solidFill>
                  <a:schemeClr val="bg1"/>
                </a:solidFill>
              </a:defRPr>
            </a:lvl4pPr>
            <a:lvl5pPr marL="1025525" indent="0"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PHOTO CREDIT HERE</a:t>
            </a:r>
          </a:p>
        </p:txBody>
      </p:sp>
      <p:pic>
        <p:nvPicPr>
          <p:cNvPr id="15" name="Picture 14" descr="USAID_Logo_White_v02.pn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11740" y="685800"/>
            <a:ext cx="2438400" cy="544010"/>
          </a:xfrm>
          <a:prstGeom prst="rect">
            <a:avLst/>
          </a:prstGeom>
          <a:effectLst>
            <a:outerShdw blurRad="254000" dir="2700000" algn="tl" rotWithShape="0">
              <a:srgbClr val="000000">
                <a:alpha val="20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388307722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_Green 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Palatino Linotype" pitchFamily="18" charset="0"/>
            </a:endParaRPr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304802" y="6250077"/>
            <a:ext cx="11592985" cy="0"/>
          </a:xfrm>
          <a:prstGeom prst="line">
            <a:avLst/>
          </a:prstGeom>
          <a:ln w="9525">
            <a:solidFill>
              <a:srgbClr val="555759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Text Placeholder 18"/>
          <p:cNvSpPr txBox="1">
            <a:spLocks/>
          </p:cNvSpPr>
          <p:nvPr userDrawn="1"/>
        </p:nvSpPr>
        <p:spPr>
          <a:xfrm>
            <a:off x="182020" y="6365442"/>
            <a:ext cx="478315" cy="231169"/>
          </a:xfrm>
          <a:prstGeom prst="rect">
            <a:avLst/>
          </a:prstGeom>
        </p:spPr>
        <p:txBody>
          <a:bodyPr vert="horz"/>
          <a:lstStyle>
            <a:lvl1pPr marL="0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 baseline="0">
                <a:solidFill>
                  <a:srgbClr val="898C8F"/>
                </a:solidFill>
                <a:latin typeface="+mj-lt"/>
                <a:ea typeface="+mn-ea"/>
                <a:cs typeface="+mn-cs"/>
              </a:defRPr>
            </a:lvl1pPr>
            <a:lvl2pPr marL="457178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2pPr>
            <a:lvl3pPr marL="914354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3pPr>
            <a:lvl4pPr marL="1371532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4pPr>
            <a:lvl5pPr marL="1828709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5pPr>
            <a:lvl6pPr marL="21748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6pPr>
            <a:lvl7pPr marL="26320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7pPr>
            <a:lvl8pPr marL="30892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8pPr>
            <a:lvl9pPr marL="35464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l"/>
            <a:fld id="{C0D4A90D-707C-4CFA-8F87-17CF45DE2B45}" type="slidenum">
              <a:rPr lang="en-US" sz="900" smtClean="0">
                <a:solidFill>
                  <a:srgbClr val="95D600"/>
                </a:solidFill>
              </a:rPr>
              <a:pPr algn="l"/>
              <a:t>‹#›</a:t>
            </a:fld>
            <a:endParaRPr lang="en-US" sz="900" dirty="0"/>
          </a:p>
        </p:txBody>
      </p:sp>
      <p:cxnSp>
        <p:nvCxnSpPr>
          <p:cNvPr id="7" name="Straight Connector 6"/>
          <p:cNvCxnSpPr/>
          <p:nvPr userDrawn="1"/>
        </p:nvCxnSpPr>
        <p:spPr bwMode="auto">
          <a:xfrm flipH="1">
            <a:off x="0" y="6302465"/>
            <a:ext cx="12192000" cy="0"/>
          </a:xfrm>
          <a:prstGeom prst="line">
            <a:avLst/>
          </a:prstGeom>
          <a:solidFill>
            <a:schemeClr val="accent1"/>
          </a:solidFill>
          <a:ln w="19050" cap="flat" cmpd="dbl" algn="ctr">
            <a:noFill/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0" name="Rectangle 9"/>
          <p:cNvSpPr/>
          <p:nvPr userDrawn="1"/>
        </p:nvSpPr>
        <p:spPr bwMode="auto">
          <a:xfrm>
            <a:off x="0" y="0"/>
            <a:ext cx="12192000" cy="1074396"/>
          </a:xfrm>
          <a:prstGeom prst="rect">
            <a:avLst/>
          </a:prstGeom>
          <a:gradFill>
            <a:gsLst>
              <a:gs pos="0">
                <a:schemeClr val="accent2"/>
              </a:gs>
              <a:gs pos="100000">
                <a:srgbClr val="648C1A"/>
              </a:gs>
            </a:gsLst>
            <a:lin ang="10800000" scaled="0"/>
          </a:gra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Palatino Linotype" pitchFamily="18" charset="0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287453" y="1"/>
            <a:ext cx="11623035" cy="1011420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Text Placeholder 18"/>
          <p:cNvSpPr txBox="1">
            <a:spLocks/>
          </p:cNvSpPr>
          <p:nvPr userDrawn="1"/>
        </p:nvSpPr>
        <p:spPr>
          <a:xfrm>
            <a:off x="412682" y="6370117"/>
            <a:ext cx="7770501" cy="205345"/>
          </a:xfrm>
          <a:prstGeom prst="rect">
            <a:avLst/>
          </a:prstGeom>
        </p:spPr>
        <p:txBody>
          <a:bodyPr vert="horz"/>
          <a:lstStyle>
            <a:lvl1pPr marL="0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 baseline="0">
                <a:solidFill>
                  <a:srgbClr val="898C8F"/>
                </a:solidFill>
                <a:latin typeface="+mj-lt"/>
                <a:ea typeface="+mn-ea"/>
                <a:cs typeface="+mn-cs"/>
              </a:defRPr>
            </a:lvl1pPr>
            <a:lvl2pPr marL="457178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2pPr>
            <a:lvl3pPr marL="914354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3pPr>
            <a:lvl4pPr marL="1371532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4pPr>
            <a:lvl5pPr marL="1828709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5pPr>
            <a:lvl6pPr marL="21748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6pPr>
            <a:lvl7pPr marL="26320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7pPr>
            <a:lvl8pPr marL="30892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8pPr>
            <a:lvl9pPr marL="35464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 sz="900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/ </a:t>
            </a:r>
            <a:r>
              <a:rPr lang="en-US" sz="900" kern="1200" cap="all" normalizeH="0" baseline="0" dirty="0">
                <a:solidFill>
                  <a:schemeClr val="accent1">
                    <a:lumMod val="60000"/>
                    <a:lumOff val="40000"/>
                  </a:schemeClr>
                </a:solidFill>
                <a:latin typeface="+mj-lt"/>
                <a:ea typeface="+mn-ea"/>
                <a:cs typeface="+mn-cs"/>
              </a:rPr>
              <a:t>©ECOFYS, A Navigant – A </a:t>
            </a:r>
            <a:r>
              <a:rPr lang="en-US" sz="900" kern="1200" cap="all" normalizeH="0" baseline="0" dirty="0" err="1">
                <a:solidFill>
                  <a:schemeClr val="accent1">
                    <a:lumMod val="60000"/>
                    <a:lumOff val="40000"/>
                  </a:schemeClr>
                </a:solidFill>
                <a:latin typeface="+mj-lt"/>
                <a:ea typeface="+mn-ea"/>
                <a:cs typeface="+mn-cs"/>
              </a:rPr>
              <a:t>Guidehouse</a:t>
            </a:r>
            <a:r>
              <a:rPr lang="en-US" sz="900" kern="1200" cap="all" normalizeH="0" baseline="0" dirty="0">
                <a:solidFill>
                  <a:schemeClr val="accent1">
                    <a:lumMod val="60000"/>
                    <a:lumOff val="40000"/>
                  </a:schemeClr>
                </a:solidFill>
                <a:latin typeface="+mj-lt"/>
                <a:ea typeface="+mn-ea"/>
                <a:cs typeface="+mn-cs"/>
              </a:rPr>
              <a:t> Company Company</a:t>
            </a:r>
            <a:r>
              <a:rPr lang="en-US" sz="900" baseline="0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. All rights Reserved</a:t>
            </a:r>
            <a:endParaRPr lang="en-US" sz="900" dirty="0">
              <a:solidFill>
                <a:schemeClr val="accent1">
                  <a:lumMod val="60000"/>
                  <a:lumOff val="40000"/>
                </a:schemeClr>
              </a:solidFill>
            </a:endParaRPr>
          </a:p>
        </p:txBody>
      </p:sp>
      <p:pic>
        <p:nvPicPr>
          <p:cNvPr id="13" name="Picture 13" descr="Mission_Statement_RGB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71520" y="6418194"/>
            <a:ext cx="2726267" cy="123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334139624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669014708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Gray Bar_Content+Table/Chart/Fig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4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/>
          <p:cNvSpPr/>
          <p:nvPr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800" dirty="0">
              <a:solidFill>
                <a:srgbClr val="555759"/>
              </a:solidFill>
              <a:latin typeface="Palatino Linotype" pitchFamily="18" charset="0"/>
            </a:endParaRPr>
          </a:p>
        </p:txBody>
      </p:sp>
      <p:cxnSp>
        <p:nvCxnSpPr>
          <p:cNvPr id="5" name="Straight Connector 4"/>
          <p:cNvCxnSpPr/>
          <p:nvPr/>
        </p:nvCxnSpPr>
        <p:spPr>
          <a:xfrm>
            <a:off x="304802" y="6250077"/>
            <a:ext cx="11592985" cy="0"/>
          </a:xfrm>
          <a:prstGeom prst="line">
            <a:avLst/>
          </a:prstGeom>
          <a:ln w="9525">
            <a:solidFill>
              <a:srgbClr val="555759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Text Placeholder 18"/>
          <p:cNvSpPr txBox="1">
            <a:spLocks/>
          </p:cNvSpPr>
          <p:nvPr userDrawn="1"/>
        </p:nvSpPr>
        <p:spPr>
          <a:xfrm>
            <a:off x="85344" y="6365442"/>
            <a:ext cx="585216" cy="231169"/>
          </a:xfrm>
          <a:prstGeom prst="rect">
            <a:avLst/>
          </a:prstGeom>
        </p:spPr>
        <p:txBody>
          <a:bodyPr vert="horz"/>
          <a:lstStyle>
            <a:lvl1pPr marL="0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 baseline="0">
                <a:solidFill>
                  <a:srgbClr val="898C8F"/>
                </a:solidFill>
                <a:latin typeface="+mj-lt"/>
                <a:ea typeface="+mn-ea"/>
                <a:cs typeface="+mn-cs"/>
              </a:defRPr>
            </a:lvl1pPr>
            <a:lvl2pPr marL="457178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2pPr>
            <a:lvl3pPr marL="914354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3pPr>
            <a:lvl4pPr marL="1371532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4pPr>
            <a:lvl5pPr marL="1828709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5pPr>
            <a:lvl6pPr marL="21748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6pPr>
            <a:lvl7pPr marL="26320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7pPr>
            <a:lvl8pPr marL="30892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8pPr>
            <a:lvl9pPr marL="35464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648C1A"/>
              </a:buClr>
            </a:pPr>
            <a:fld id="{C0D4A90D-707C-4CFA-8F87-17CF45DE2B45}" type="slidenum">
              <a:rPr sz="900" smtClean="0">
                <a:solidFill>
                  <a:srgbClr val="95D600"/>
                </a:solidFill>
              </a:rPr>
              <a:pPr>
                <a:buClr>
                  <a:srgbClr val="648C1A"/>
                </a:buClr>
              </a:pPr>
              <a:t>‹#›</a:t>
            </a:fld>
            <a:endParaRPr sz="900" dirty="0"/>
          </a:p>
        </p:txBody>
      </p:sp>
      <p:cxnSp>
        <p:nvCxnSpPr>
          <p:cNvPr id="7" name="Straight Connector 6"/>
          <p:cNvCxnSpPr/>
          <p:nvPr/>
        </p:nvCxnSpPr>
        <p:spPr bwMode="auto">
          <a:xfrm flipH="1">
            <a:off x="0" y="6302465"/>
            <a:ext cx="12192000" cy="0"/>
          </a:xfrm>
          <a:prstGeom prst="line">
            <a:avLst/>
          </a:prstGeom>
          <a:solidFill>
            <a:schemeClr val="accent1"/>
          </a:solidFill>
          <a:ln w="19050" cap="flat" cmpd="dbl" algn="ctr">
            <a:noFill/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0" name="Rectangle 9"/>
          <p:cNvSpPr/>
          <p:nvPr/>
        </p:nvSpPr>
        <p:spPr bwMode="auto">
          <a:xfrm>
            <a:off x="0" y="0"/>
            <a:ext cx="12192000" cy="1074396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800" dirty="0">
              <a:solidFill>
                <a:srgbClr val="555759"/>
              </a:solidFill>
              <a:latin typeface="Palatino Linotype" pitchFamily="18" charset="0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287453" y="1"/>
            <a:ext cx="11623035" cy="1011420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Rectangle 11"/>
          <p:cNvSpPr/>
          <p:nvPr/>
        </p:nvSpPr>
        <p:spPr bwMode="auto">
          <a:xfrm>
            <a:off x="0" y="1074396"/>
            <a:ext cx="12192000" cy="151354"/>
          </a:xfrm>
          <a:prstGeom prst="rect">
            <a:avLst/>
          </a:prstGeom>
          <a:solidFill>
            <a:schemeClr val="accent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800" dirty="0">
              <a:solidFill>
                <a:srgbClr val="555759"/>
              </a:solidFill>
              <a:latin typeface="Palatino Linotype" pitchFamily="18" charset="0"/>
            </a:endParaRPr>
          </a:p>
        </p:txBody>
      </p:sp>
      <p:sp>
        <p:nvSpPr>
          <p:cNvPr id="13" name="Rectangle 14"/>
          <p:cNvSpPr>
            <a:spLocks noGrp="1" noChangeArrowheads="1"/>
          </p:cNvSpPr>
          <p:nvPr>
            <p:ph idx="1"/>
          </p:nvPr>
        </p:nvSpPr>
        <p:spPr bwMode="auto">
          <a:xfrm>
            <a:off x="287453" y="1403684"/>
            <a:ext cx="11623035" cy="113385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10" hasCustomPrompt="1"/>
          </p:nvPr>
        </p:nvSpPr>
        <p:spPr>
          <a:xfrm>
            <a:off x="2075104" y="2627336"/>
            <a:ext cx="8056033" cy="431800"/>
          </a:xfrm>
        </p:spPr>
        <p:txBody>
          <a:bodyPr anchor="ctr"/>
          <a:lstStyle>
            <a:lvl1pPr marL="0" indent="0" algn="ctr">
              <a:buNone/>
              <a:defRPr sz="1600" b="1" baseline="0"/>
            </a:lvl1pPr>
          </a:lstStyle>
          <a:p>
            <a:pPr lvl="0"/>
            <a:r>
              <a:rPr lang="en-US" b="1" dirty="0"/>
              <a:t>Insert Table/Chart/Figure Title</a:t>
            </a:r>
            <a:endParaRPr lang="en-US" dirty="0"/>
          </a:p>
        </p:txBody>
      </p:sp>
      <p:sp>
        <p:nvSpPr>
          <p:cNvPr id="15" name="Content Placeholder 14"/>
          <p:cNvSpPr>
            <a:spLocks noGrp="1"/>
          </p:cNvSpPr>
          <p:nvPr>
            <p:ph sz="quarter" idx="11"/>
          </p:nvPr>
        </p:nvSpPr>
        <p:spPr>
          <a:xfrm>
            <a:off x="2854257" y="3148933"/>
            <a:ext cx="6470185" cy="2668917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ext Placeholder 16"/>
          <p:cNvSpPr>
            <a:spLocks noGrp="1"/>
          </p:cNvSpPr>
          <p:nvPr>
            <p:ph type="body" sz="quarter" idx="12" hasCustomPrompt="1"/>
          </p:nvPr>
        </p:nvSpPr>
        <p:spPr>
          <a:xfrm>
            <a:off x="2998603" y="5870237"/>
            <a:ext cx="2400300" cy="219075"/>
          </a:xfrm>
        </p:spPr>
        <p:txBody>
          <a:bodyPr anchor="ctr"/>
          <a:lstStyle>
            <a:lvl1pPr marL="0" indent="0">
              <a:buNone/>
              <a:defRPr sz="800" i="1" baseline="0">
                <a:solidFill>
                  <a:schemeClr val="accent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US" sz="800" i="1" dirty="0"/>
              <a:t>Insert source</a:t>
            </a:r>
            <a:endParaRPr lang="en-US" dirty="0"/>
          </a:p>
        </p:txBody>
      </p:sp>
      <p:sp>
        <p:nvSpPr>
          <p:cNvPr id="17" name="Text Placeholder 18"/>
          <p:cNvSpPr txBox="1">
            <a:spLocks/>
          </p:cNvSpPr>
          <p:nvPr userDrawn="1"/>
        </p:nvSpPr>
        <p:spPr>
          <a:xfrm>
            <a:off x="412682" y="6370117"/>
            <a:ext cx="7770501" cy="205345"/>
          </a:xfrm>
          <a:prstGeom prst="rect">
            <a:avLst/>
          </a:prstGeom>
        </p:spPr>
        <p:txBody>
          <a:bodyPr vert="horz"/>
          <a:lstStyle>
            <a:lvl1pPr marL="0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 baseline="0">
                <a:solidFill>
                  <a:srgbClr val="898C8F"/>
                </a:solidFill>
                <a:latin typeface="+mj-lt"/>
                <a:ea typeface="+mn-ea"/>
                <a:cs typeface="+mn-cs"/>
              </a:defRPr>
            </a:lvl1pPr>
            <a:lvl2pPr marL="457178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2pPr>
            <a:lvl3pPr marL="914354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3pPr>
            <a:lvl4pPr marL="1371532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4pPr>
            <a:lvl5pPr marL="1828709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5pPr>
            <a:lvl6pPr marL="21748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6pPr>
            <a:lvl7pPr marL="26320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7pPr>
            <a:lvl8pPr marL="30892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8pPr>
            <a:lvl9pPr marL="35464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648C1A"/>
              </a:buClr>
            </a:pPr>
            <a:r>
              <a:rPr sz="900" dirty="0">
                <a:solidFill>
                  <a:srgbClr val="648C1A">
                    <a:lumMod val="60000"/>
                    <a:lumOff val="40000"/>
                  </a:srgbClr>
                </a:solidFill>
              </a:rPr>
              <a:t>/ ©ECOFYS, A </a:t>
            </a:r>
            <a:r>
              <a:rPr lang="en-US" sz="900" dirty="0">
                <a:solidFill>
                  <a:srgbClr val="648C1A">
                    <a:lumMod val="60000"/>
                    <a:lumOff val="40000"/>
                  </a:srgbClr>
                </a:solidFill>
              </a:rPr>
              <a:t>Navigant – A </a:t>
            </a:r>
            <a:r>
              <a:rPr lang="en-US" sz="900" dirty="0" err="1">
                <a:solidFill>
                  <a:srgbClr val="648C1A">
                    <a:lumMod val="60000"/>
                    <a:lumOff val="40000"/>
                  </a:srgbClr>
                </a:solidFill>
              </a:rPr>
              <a:t>Guidehouse</a:t>
            </a:r>
            <a:r>
              <a:rPr lang="en-US" sz="900" dirty="0">
                <a:solidFill>
                  <a:srgbClr val="648C1A">
                    <a:lumMod val="60000"/>
                    <a:lumOff val="40000"/>
                  </a:srgbClr>
                </a:solidFill>
              </a:rPr>
              <a:t> Company</a:t>
            </a:r>
            <a:r>
              <a:rPr sz="900" dirty="0">
                <a:solidFill>
                  <a:srgbClr val="648C1A">
                    <a:lumMod val="60000"/>
                    <a:lumOff val="40000"/>
                  </a:srgbClr>
                </a:solidFill>
              </a:rPr>
              <a:t> Company. All rights Reserved</a:t>
            </a:r>
          </a:p>
        </p:txBody>
      </p:sp>
      <p:pic>
        <p:nvPicPr>
          <p:cNvPr id="18" name="Picture 13" descr="Mission_Statement_RGB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71520" y="6418194"/>
            <a:ext cx="2726267" cy="123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539801751"/>
      </p:ext>
    </p:extLst>
  </p:cSld>
  <p:clrMapOvr>
    <a:masterClrMapping/>
  </p:clrMapOvr>
  <p:hf sldNum="0" hdr="0" dt="0"/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Only_Gray 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6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/>
          <p:cNvSpPr/>
          <p:nvPr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800" dirty="0">
              <a:solidFill>
                <a:srgbClr val="555759"/>
              </a:solidFill>
              <a:latin typeface="Palatino Linotype" pitchFamily="18" charset="0"/>
            </a:endParaRPr>
          </a:p>
        </p:txBody>
      </p:sp>
      <p:sp>
        <p:nvSpPr>
          <p:cNvPr id="4" name="Text Placeholder 18"/>
          <p:cNvSpPr txBox="1">
            <a:spLocks/>
          </p:cNvSpPr>
          <p:nvPr/>
        </p:nvSpPr>
        <p:spPr>
          <a:xfrm>
            <a:off x="412682" y="6370117"/>
            <a:ext cx="7770501" cy="205345"/>
          </a:xfrm>
          <a:prstGeom prst="rect">
            <a:avLst/>
          </a:prstGeom>
        </p:spPr>
        <p:txBody>
          <a:bodyPr vert="horz"/>
          <a:lstStyle>
            <a:lvl1pPr marL="0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 baseline="0">
                <a:solidFill>
                  <a:srgbClr val="898C8F"/>
                </a:solidFill>
                <a:latin typeface="+mj-lt"/>
                <a:ea typeface="+mn-ea"/>
                <a:cs typeface="+mn-cs"/>
              </a:defRPr>
            </a:lvl1pPr>
            <a:lvl2pPr marL="457178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2pPr>
            <a:lvl3pPr marL="914354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3pPr>
            <a:lvl4pPr marL="1371532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4pPr>
            <a:lvl5pPr marL="1828709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5pPr>
            <a:lvl6pPr marL="21748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6pPr>
            <a:lvl7pPr marL="26320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7pPr>
            <a:lvl8pPr marL="30892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8pPr>
            <a:lvl9pPr marL="35464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648C1A"/>
              </a:buClr>
            </a:pPr>
            <a:r>
              <a:rPr sz="900" dirty="0">
                <a:solidFill>
                  <a:srgbClr val="648C1A">
                    <a:lumMod val="60000"/>
                    <a:lumOff val="40000"/>
                  </a:srgbClr>
                </a:solidFill>
              </a:rPr>
              <a:t>/ ©2016 </a:t>
            </a:r>
            <a:r>
              <a:rPr lang="en-US" sz="900" dirty="0">
                <a:solidFill>
                  <a:srgbClr val="648C1A">
                    <a:lumMod val="60000"/>
                    <a:lumOff val="40000"/>
                  </a:srgbClr>
                </a:solidFill>
              </a:rPr>
              <a:t>Navigant – A </a:t>
            </a:r>
            <a:r>
              <a:rPr lang="en-US" sz="900" dirty="0" err="1">
                <a:solidFill>
                  <a:srgbClr val="648C1A">
                    <a:lumMod val="60000"/>
                    <a:lumOff val="40000"/>
                  </a:srgbClr>
                </a:solidFill>
              </a:rPr>
              <a:t>Guidehouse</a:t>
            </a:r>
            <a:r>
              <a:rPr lang="en-US" sz="900" dirty="0">
                <a:solidFill>
                  <a:srgbClr val="648C1A">
                    <a:lumMod val="60000"/>
                    <a:lumOff val="40000"/>
                  </a:srgbClr>
                </a:solidFill>
              </a:rPr>
              <a:t> Company</a:t>
            </a:r>
            <a:r>
              <a:rPr sz="900" dirty="0">
                <a:solidFill>
                  <a:srgbClr val="648C1A">
                    <a:lumMod val="60000"/>
                    <a:lumOff val="40000"/>
                  </a:srgbClr>
                </a:solidFill>
              </a:rPr>
              <a:t> Consulting, Inc. All rights Reserved</a:t>
            </a:r>
          </a:p>
        </p:txBody>
      </p:sp>
      <p:cxnSp>
        <p:nvCxnSpPr>
          <p:cNvPr id="5" name="Straight Connector 4"/>
          <p:cNvCxnSpPr/>
          <p:nvPr/>
        </p:nvCxnSpPr>
        <p:spPr>
          <a:xfrm>
            <a:off x="304802" y="6250077"/>
            <a:ext cx="11592985" cy="0"/>
          </a:xfrm>
          <a:prstGeom prst="line">
            <a:avLst/>
          </a:prstGeom>
          <a:ln w="9525">
            <a:solidFill>
              <a:srgbClr val="555759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Text Placeholder 18"/>
          <p:cNvSpPr txBox="1">
            <a:spLocks/>
          </p:cNvSpPr>
          <p:nvPr/>
        </p:nvSpPr>
        <p:spPr>
          <a:xfrm>
            <a:off x="85344" y="6365442"/>
            <a:ext cx="585216" cy="231169"/>
          </a:xfrm>
          <a:prstGeom prst="rect">
            <a:avLst/>
          </a:prstGeom>
        </p:spPr>
        <p:txBody>
          <a:bodyPr vert="horz"/>
          <a:lstStyle>
            <a:lvl1pPr marL="0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 baseline="0">
                <a:solidFill>
                  <a:srgbClr val="898C8F"/>
                </a:solidFill>
                <a:latin typeface="+mj-lt"/>
                <a:ea typeface="+mn-ea"/>
                <a:cs typeface="+mn-cs"/>
              </a:defRPr>
            </a:lvl1pPr>
            <a:lvl2pPr marL="457178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2pPr>
            <a:lvl3pPr marL="914354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3pPr>
            <a:lvl4pPr marL="1371532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4pPr>
            <a:lvl5pPr marL="1828709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5pPr>
            <a:lvl6pPr marL="21748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6pPr>
            <a:lvl7pPr marL="26320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7pPr>
            <a:lvl8pPr marL="30892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8pPr>
            <a:lvl9pPr marL="35464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648C1A"/>
              </a:buClr>
            </a:pPr>
            <a:fld id="{C0D4A90D-707C-4CFA-8F87-17CF45DE2B45}" type="slidenum">
              <a:rPr sz="900" smtClean="0">
                <a:solidFill>
                  <a:srgbClr val="95D600"/>
                </a:solidFill>
              </a:rPr>
              <a:pPr>
                <a:buClr>
                  <a:srgbClr val="648C1A"/>
                </a:buClr>
              </a:pPr>
              <a:t>‹#›</a:t>
            </a:fld>
            <a:endParaRPr sz="900" dirty="0"/>
          </a:p>
        </p:txBody>
      </p:sp>
      <p:cxnSp>
        <p:nvCxnSpPr>
          <p:cNvPr id="7" name="Straight Connector 6"/>
          <p:cNvCxnSpPr/>
          <p:nvPr/>
        </p:nvCxnSpPr>
        <p:spPr bwMode="auto">
          <a:xfrm flipH="1">
            <a:off x="0" y="6302465"/>
            <a:ext cx="12192000" cy="0"/>
          </a:xfrm>
          <a:prstGeom prst="line">
            <a:avLst/>
          </a:prstGeom>
          <a:solidFill>
            <a:schemeClr val="accent1"/>
          </a:solidFill>
          <a:ln w="19050" cap="flat" cmpd="dbl" algn="ctr">
            <a:noFill/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8" name="Picture 7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07280" y="6400190"/>
            <a:ext cx="1303209" cy="168518"/>
          </a:xfrm>
          <a:prstGeom prst="rect">
            <a:avLst/>
          </a:prstGeom>
        </p:spPr>
      </p:pic>
      <p:sp>
        <p:nvSpPr>
          <p:cNvPr id="10" name="Rectangle 9"/>
          <p:cNvSpPr/>
          <p:nvPr/>
        </p:nvSpPr>
        <p:spPr bwMode="auto">
          <a:xfrm>
            <a:off x="0" y="0"/>
            <a:ext cx="12192000" cy="1074396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800" dirty="0">
              <a:solidFill>
                <a:srgbClr val="555759"/>
              </a:solidFill>
              <a:latin typeface="Palatino Linotype" pitchFamily="18" charset="0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287453" y="1"/>
            <a:ext cx="11623035" cy="1011420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Rectangle 11"/>
          <p:cNvSpPr/>
          <p:nvPr/>
        </p:nvSpPr>
        <p:spPr bwMode="auto">
          <a:xfrm>
            <a:off x="0" y="1074396"/>
            <a:ext cx="12192000" cy="151354"/>
          </a:xfrm>
          <a:prstGeom prst="rect">
            <a:avLst/>
          </a:prstGeom>
          <a:solidFill>
            <a:schemeClr val="accent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800" dirty="0">
              <a:solidFill>
                <a:srgbClr val="555759"/>
              </a:solidFill>
              <a:latin typeface="Palatino Linotype" pitchFamily="18" charset="0"/>
            </a:endParaRPr>
          </a:p>
        </p:txBody>
      </p:sp>
      <p:sp>
        <p:nvSpPr>
          <p:cNvPr id="13" name="Rectangle 12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800" dirty="0">
              <a:solidFill>
                <a:srgbClr val="555759"/>
              </a:solidFill>
              <a:latin typeface="Palatino Linotype" pitchFamily="18" charset="0"/>
            </a:endParaRPr>
          </a:p>
        </p:txBody>
      </p:sp>
      <p:cxnSp>
        <p:nvCxnSpPr>
          <p:cNvPr id="15" name="Straight Connector 14"/>
          <p:cNvCxnSpPr/>
          <p:nvPr userDrawn="1"/>
        </p:nvCxnSpPr>
        <p:spPr>
          <a:xfrm>
            <a:off x="304802" y="6250077"/>
            <a:ext cx="11592985" cy="0"/>
          </a:xfrm>
          <a:prstGeom prst="line">
            <a:avLst/>
          </a:prstGeom>
          <a:ln w="9525">
            <a:solidFill>
              <a:srgbClr val="555759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6" name="Text Placeholder 18"/>
          <p:cNvSpPr txBox="1">
            <a:spLocks/>
          </p:cNvSpPr>
          <p:nvPr userDrawn="1"/>
        </p:nvSpPr>
        <p:spPr>
          <a:xfrm>
            <a:off x="182020" y="6365442"/>
            <a:ext cx="478315" cy="231169"/>
          </a:xfrm>
          <a:prstGeom prst="rect">
            <a:avLst/>
          </a:prstGeom>
        </p:spPr>
        <p:txBody>
          <a:bodyPr vert="horz"/>
          <a:lstStyle>
            <a:lvl1pPr marL="0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 baseline="0">
                <a:solidFill>
                  <a:srgbClr val="898C8F"/>
                </a:solidFill>
                <a:latin typeface="+mj-lt"/>
                <a:ea typeface="+mn-ea"/>
                <a:cs typeface="+mn-cs"/>
              </a:defRPr>
            </a:lvl1pPr>
            <a:lvl2pPr marL="457178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2pPr>
            <a:lvl3pPr marL="914354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3pPr>
            <a:lvl4pPr marL="1371532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4pPr>
            <a:lvl5pPr marL="1828709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5pPr>
            <a:lvl6pPr marL="21748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6pPr>
            <a:lvl7pPr marL="26320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7pPr>
            <a:lvl8pPr marL="30892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8pPr>
            <a:lvl9pPr marL="35464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648C1A"/>
              </a:buClr>
            </a:pPr>
            <a:fld id="{C0D4A90D-707C-4CFA-8F87-17CF45DE2B45}" type="slidenum">
              <a:rPr sz="900" smtClean="0">
                <a:solidFill>
                  <a:srgbClr val="95D600"/>
                </a:solidFill>
              </a:rPr>
              <a:pPr>
                <a:buClr>
                  <a:srgbClr val="648C1A"/>
                </a:buClr>
              </a:pPr>
              <a:t>‹#›</a:t>
            </a:fld>
            <a:endParaRPr sz="900" dirty="0"/>
          </a:p>
        </p:txBody>
      </p:sp>
      <p:cxnSp>
        <p:nvCxnSpPr>
          <p:cNvPr id="17" name="Straight Connector 16"/>
          <p:cNvCxnSpPr/>
          <p:nvPr userDrawn="1"/>
        </p:nvCxnSpPr>
        <p:spPr bwMode="auto">
          <a:xfrm flipH="1">
            <a:off x="0" y="6302465"/>
            <a:ext cx="12192000" cy="0"/>
          </a:xfrm>
          <a:prstGeom prst="line">
            <a:avLst/>
          </a:prstGeom>
          <a:solidFill>
            <a:schemeClr val="accent1"/>
          </a:solidFill>
          <a:ln w="19050" cap="flat" cmpd="dbl" algn="ctr">
            <a:noFill/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9" name="Rectangle 18"/>
          <p:cNvSpPr/>
          <p:nvPr userDrawn="1"/>
        </p:nvSpPr>
        <p:spPr bwMode="auto">
          <a:xfrm>
            <a:off x="0" y="0"/>
            <a:ext cx="12192000" cy="1074396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800" dirty="0">
              <a:solidFill>
                <a:srgbClr val="555759"/>
              </a:solidFill>
              <a:latin typeface="Palatino Linotype" pitchFamily="18" charset="0"/>
            </a:endParaRPr>
          </a:p>
        </p:txBody>
      </p:sp>
      <p:sp>
        <p:nvSpPr>
          <p:cNvPr id="20" name="Rectangle 19"/>
          <p:cNvSpPr/>
          <p:nvPr userDrawn="1"/>
        </p:nvSpPr>
        <p:spPr bwMode="auto">
          <a:xfrm>
            <a:off x="0" y="1074396"/>
            <a:ext cx="12192000" cy="151354"/>
          </a:xfrm>
          <a:prstGeom prst="rect">
            <a:avLst/>
          </a:prstGeom>
          <a:solidFill>
            <a:schemeClr val="accent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800" dirty="0">
              <a:solidFill>
                <a:srgbClr val="555759"/>
              </a:solidFill>
              <a:latin typeface="Palatino Linotype" pitchFamily="18" charset="0"/>
            </a:endParaRPr>
          </a:p>
        </p:txBody>
      </p:sp>
      <p:sp>
        <p:nvSpPr>
          <p:cNvPr id="21" name="Text Placeholder 18"/>
          <p:cNvSpPr txBox="1">
            <a:spLocks/>
          </p:cNvSpPr>
          <p:nvPr userDrawn="1"/>
        </p:nvSpPr>
        <p:spPr>
          <a:xfrm>
            <a:off x="412682" y="6370117"/>
            <a:ext cx="7770501" cy="205345"/>
          </a:xfrm>
          <a:prstGeom prst="rect">
            <a:avLst/>
          </a:prstGeom>
        </p:spPr>
        <p:txBody>
          <a:bodyPr vert="horz"/>
          <a:lstStyle>
            <a:lvl1pPr marL="0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 baseline="0">
                <a:solidFill>
                  <a:srgbClr val="898C8F"/>
                </a:solidFill>
                <a:latin typeface="+mj-lt"/>
                <a:ea typeface="+mn-ea"/>
                <a:cs typeface="+mn-cs"/>
              </a:defRPr>
            </a:lvl1pPr>
            <a:lvl2pPr marL="457178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2pPr>
            <a:lvl3pPr marL="914354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3pPr>
            <a:lvl4pPr marL="1371532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4pPr>
            <a:lvl5pPr marL="1828709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5pPr>
            <a:lvl6pPr marL="21748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6pPr>
            <a:lvl7pPr marL="26320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7pPr>
            <a:lvl8pPr marL="30892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8pPr>
            <a:lvl9pPr marL="35464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648C1A"/>
              </a:buClr>
            </a:pPr>
            <a:r>
              <a:rPr sz="900" dirty="0">
                <a:solidFill>
                  <a:srgbClr val="648C1A">
                    <a:lumMod val="60000"/>
                    <a:lumOff val="40000"/>
                  </a:srgbClr>
                </a:solidFill>
              </a:rPr>
              <a:t>/ ©ECOFYS, A </a:t>
            </a:r>
            <a:r>
              <a:rPr lang="en-US" sz="900" dirty="0">
                <a:solidFill>
                  <a:srgbClr val="648C1A">
                    <a:lumMod val="60000"/>
                    <a:lumOff val="40000"/>
                  </a:srgbClr>
                </a:solidFill>
              </a:rPr>
              <a:t>Navigant – A </a:t>
            </a:r>
            <a:r>
              <a:rPr lang="en-US" sz="900" dirty="0" err="1">
                <a:solidFill>
                  <a:srgbClr val="648C1A">
                    <a:lumMod val="60000"/>
                    <a:lumOff val="40000"/>
                  </a:srgbClr>
                </a:solidFill>
              </a:rPr>
              <a:t>Guidehouse</a:t>
            </a:r>
            <a:r>
              <a:rPr lang="en-US" sz="900" dirty="0">
                <a:solidFill>
                  <a:srgbClr val="648C1A">
                    <a:lumMod val="60000"/>
                    <a:lumOff val="40000"/>
                  </a:srgbClr>
                </a:solidFill>
              </a:rPr>
              <a:t> Company</a:t>
            </a:r>
            <a:r>
              <a:rPr sz="900" dirty="0">
                <a:solidFill>
                  <a:srgbClr val="648C1A">
                    <a:lumMod val="60000"/>
                    <a:lumOff val="40000"/>
                  </a:srgbClr>
                </a:solidFill>
              </a:rPr>
              <a:t> Company. All rights Reserved</a:t>
            </a:r>
          </a:p>
        </p:txBody>
      </p:sp>
      <p:pic>
        <p:nvPicPr>
          <p:cNvPr id="22" name="Picture 13" descr="Mission_Statement_RGB"/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71520" y="6418194"/>
            <a:ext cx="2726267" cy="123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575336959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1396" y="3692"/>
            <a:ext cx="12201685" cy="685430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solidFill>
                <a:srgbClr val="FFFFFF"/>
              </a:solidFill>
            </a:endParaRPr>
          </a:p>
        </p:txBody>
      </p:sp>
      <p:sp>
        <p:nvSpPr>
          <p:cNvPr id="9" name="Freeform 8"/>
          <p:cNvSpPr/>
          <p:nvPr userDrawn="1"/>
        </p:nvSpPr>
        <p:spPr>
          <a:xfrm>
            <a:off x="-11936" y="-3148"/>
            <a:ext cx="11931119" cy="6867762"/>
          </a:xfrm>
          <a:custGeom>
            <a:avLst/>
            <a:gdLst>
              <a:gd name="connsiteX0" fmla="*/ 1643975 w 8501975"/>
              <a:gd name="connsiteY0" fmla="*/ 0 h 5175115"/>
              <a:gd name="connsiteX1" fmla="*/ 8501975 w 8501975"/>
              <a:gd name="connsiteY1" fmla="*/ 19455 h 5175115"/>
              <a:gd name="connsiteX2" fmla="*/ 4289898 w 8501975"/>
              <a:gd name="connsiteY2" fmla="*/ 5175115 h 5175115"/>
              <a:gd name="connsiteX3" fmla="*/ 0 w 8501975"/>
              <a:gd name="connsiteY3" fmla="*/ 5175115 h 5175115"/>
              <a:gd name="connsiteX4" fmla="*/ 0 w 8501975"/>
              <a:gd name="connsiteY4" fmla="*/ 4027251 h 5175115"/>
              <a:gd name="connsiteX5" fmla="*/ 1643975 w 8501975"/>
              <a:gd name="connsiteY5" fmla="*/ 0 h 5175115"/>
              <a:gd name="connsiteX0" fmla="*/ 1649126 w 8507126"/>
              <a:gd name="connsiteY0" fmla="*/ 0 h 5175115"/>
              <a:gd name="connsiteX1" fmla="*/ 8507126 w 8507126"/>
              <a:gd name="connsiteY1" fmla="*/ 19455 h 5175115"/>
              <a:gd name="connsiteX2" fmla="*/ 4295049 w 8507126"/>
              <a:gd name="connsiteY2" fmla="*/ 5175115 h 5175115"/>
              <a:gd name="connsiteX3" fmla="*/ 5151 w 8507126"/>
              <a:gd name="connsiteY3" fmla="*/ 5175115 h 5175115"/>
              <a:gd name="connsiteX4" fmla="*/ 0 w 8507126"/>
              <a:gd name="connsiteY4" fmla="*/ 4037554 h 5175115"/>
              <a:gd name="connsiteX5" fmla="*/ 1649126 w 8507126"/>
              <a:gd name="connsiteY5" fmla="*/ 0 h 5175115"/>
              <a:gd name="connsiteX0" fmla="*/ 1649127 w 8507127"/>
              <a:gd name="connsiteY0" fmla="*/ 0 h 5175115"/>
              <a:gd name="connsiteX1" fmla="*/ 8507127 w 8507127"/>
              <a:gd name="connsiteY1" fmla="*/ 19455 h 5175115"/>
              <a:gd name="connsiteX2" fmla="*/ 4295050 w 8507127"/>
              <a:gd name="connsiteY2" fmla="*/ 5175115 h 5175115"/>
              <a:gd name="connsiteX3" fmla="*/ 0 w 8507127"/>
              <a:gd name="connsiteY3" fmla="*/ 5175115 h 5175115"/>
              <a:gd name="connsiteX4" fmla="*/ 1 w 8507127"/>
              <a:gd name="connsiteY4" fmla="*/ 4037554 h 5175115"/>
              <a:gd name="connsiteX5" fmla="*/ 1649127 w 8507127"/>
              <a:gd name="connsiteY5" fmla="*/ 0 h 5175115"/>
              <a:gd name="connsiteX0" fmla="*/ 1690339 w 8507127"/>
              <a:gd name="connsiteY0" fmla="*/ 34637 h 5155660"/>
              <a:gd name="connsiteX1" fmla="*/ 8507127 w 8507127"/>
              <a:gd name="connsiteY1" fmla="*/ 0 h 5155660"/>
              <a:gd name="connsiteX2" fmla="*/ 4295050 w 8507127"/>
              <a:gd name="connsiteY2" fmla="*/ 5155660 h 5155660"/>
              <a:gd name="connsiteX3" fmla="*/ 0 w 8507127"/>
              <a:gd name="connsiteY3" fmla="*/ 5155660 h 5155660"/>
              <a:gd name="connsiteX4" fmla="*/ 1 w 8507127"/>
              <a:gd name="connsiteY4" fmla="*/ 4018099 h 5155660"/>
              <a:gd name="connsiteX5" fmla="*/ 1690339 w 8507127"/>
              <a:gd name="connsiteY5" fmla="*/ 34637 h 5155660"/>
              <a:gd name="connsiteX0" fmla="*/ 1651702 w 8507127"/>
              <a:gd name="connsiteY0" fmla="*/ 0 h 5157084"/>
              <a:gd name="connsiteX1" fmla="*/ 8507127 w 8507127"/>
              <a:gd name="connsiteY1" fmla="*/ 1424 h 5157084"/>
              <a:gd name="connsiteX2" fmla="*/ 4295050 w 8507127"/>
              <a:gd name="connsiteY2" fmla="*/ 5157084 h 5157084"/>
              <a:gd name="connsiteX3" fmla="*/ 0 w 8507127"/>
              <a:gd name="connsiteY3" fmla="*/ 5157084 h 5157084"/>
              <a:gd name="connsiteX4" fmla="*/ 1 w 8507127"/>
              <a:gd name="connsiteY4" fmla="*/ 4019523 h 5157084"/>
              <a:gd name="connsiteX5" fmla="*/ 1651702 w 8507127"/>
              <a:gd name="connsiteY5" fmla="*/ 0 h 5157084"/>
              <a:gd name="connsiteX0" fmla="*/ 1651702 w 8507127"/>
              <a:gd name="connsiteY0" fmla="*/ 0 h 5157084"/>
              <a:gd name="connsiteX1" fmla="*/ 8507127 w 8507127"/>
              <a:gd name="connsiteY1" fmla="*/ 1424 h 5157084"/>
              <a:gd name="connsiteX2" fmla="*/ 4295050 w 8507127"/>
              <a:gd name="connsiteY2" fmla="*/ 5157084 h 5157084"/>
              <a:gd name="connsiteX3" fmla="*/ 0 w 8507127"/>
              <a:gd name="connsiteY3" fmla="*/ 5157084 h 5157084"/>
              <a:gd name="connsiteX4" fmla="*/ 46365 w 8507127"/>
              <a:gd name="connsiteY4" fmla="*/ 4006644 h 5157084"/>
              <a:gd name="connsiteX5" fmla="*/ 1651702 w 8507127"/>
              <a:gd name="connsiteY5" fmla="*/ 0 h 5157084"/>
              <a:gd name="connsiteX0" fmla="*/ 1651702 w 8507127"/>
              <a:gd name="connsiteY0" fmla="*/ 0 h 5157084"/>
              <a:gd name="connsiteX1" fmla="*/ 8507127 w 8507127"/>
              <a:gd name="connsiteY1" fmla="*/ 1424 h 5157084"/>
              <a:gd name="connsiteX2" fmla="*/ 4295050 w 8507127"/>
              <a:gd name="connsiteY2" fmla="*/ 5157084 h 5157084"/>
              <a:gd name="connsiteX3" fmla="*/ 0 w 8507127"/>
              <a:gd name="connsiteY3" fmla="*/ 5157084 h 5157084"/>
              <a:gd name="connsiteX4" fmla="*/ 15455 w 8507127"/>
              <a:gd name="connsiteY4" fmla="*/ 3973159 h 5157084"/>
              <a:gd name="connsiteX5" fmla="*/ 1651702 w 8507127"/>
              <a:gd name="connsiteY5" fmla="*/ 0 h 5157084"/>
              <a:gd name="connsiteX0" fmla="*/ 1636247 w 8491672"/>
              <a:gd name="connsiteY0" fmla="*/ 0 h 5157084"/>
              <a:gd name="connsiteX1" fmla="*/ 8491672 w 8491672"/>
              <a:gd name="connsiteY1" fmla="*/ 1424 h 5157084"/>
              <a:gd name="connsiteX2" fmla="*/ 4279595 w 8491672"/>
              <a:gd name="connsiteY2" fmla="*/ 5157084 h 5157084"/>
              <a:gd name="connsiteX3" fmla="*/ 64394 w 8491672"/>
              <a:gd name="connsiteY3" fmla="*/ 5157084 h 5157084"/>
              <a:gd name="connsiteX4" fmla="*/ 0 w 8491672"/>
              <a:gd name="connsiteY4" fmla="*/ 3973159 h 5157084"/>
              <a:gd name="connsiteX5" fmla="*/ 1636247 w 8491672"/>
              <a:gd name="connsiteY5" fmla="*/ 0 h 5157084"/>
              <a:gd name="connsiteX0" fmla="*/ 1638823 w 8494248"/>
              <a:gd name="connsiteY0" fmla="*/ 0 h 5157084"/>
              <a:gd name="connsiteX1" fmla="*/ 8494248 w 8494248"/>
              <a:gd name="connsiteY1" fmla="*/ 1424 h 5157084"/>
              <a:gd name="connsiteX2" fmla="*/ 4282171 w 8494248"/>
              <a:gd name="connsiteY2" fmla="*/ 5157084 h 5157084"/>
              <a:gd name="connsiteX3" fmla="*/ 0 w 8494248"/>
              <a:gd name="connsiteY3" fmla="*/ 5157084 h 5157084"/>
              <a:gd name="connsiteX4" fmla="*/ 2576 w 8494248"/>
              <a:gd name="connsiteY4" fmla="*/ 3973159 h 5157084"/>
              <a:gd name="connsiteX5" fmla="*/ 1638823 w 8494248"/>
              <a:gd name="connsiteY5" fmla="*/ 0 h 5157084"/>
              <a:gd name="connsiteX0" fmla="*/ 1638823 w 8494248"/>
              <a:gd name="connsiteY0" fmla="*/ 0 h 5157084"/>
              <a:gd name="connsiteX1" fmla="*/ 8494248 w 8494248"/>
              <a:gd name="connsiteY1" fmla="*/ 1424 h 5157084"/>
              <a:gd name="connsiteX2" fmla="*/ 4282171 w 8494248"/>
              <a:gd name="connsiteY2" fmla="*/ 5157084 h 5157084"/>
              <a:gd name="connsiteX3" fmla="*/ 0 w 8494248"/>
              <a:gd name="connsiteY3" fmla="*/ 5157084 h 5157084"/>
              <a:gd name="connsiteX4" fmla="*/ 38637 w 8494248"/>
              <a:gd name="connsiteY4" fmla="*/ 4029826 h 5157084"/>
              <a:gd name="connsiteX5" fmla="*/ 1638823 w 8494248"/>
              <a:gd name="connsiteY5" fmla="*/ 0 h 5157084"/>
              <a:gd name="connsiteX0" fmla="*/ 1641398 w 8496823"/>
              <a:gd name="connsiteY0" fmla="*/ 0 h 5157084"/>
              <a:gd name="connsiteX1" fmla="*/ 8496823 w 8496823"/>
              <a:gd name="connsiteY1" fmla="*/ 1424 h 5157084"/>
              <a:gd name="connsiteX2" fmla="*/ 4284746 w 8496823"/>
              <a:gd name="connsiteY2" fmla="*/ 5157084 h 5157084"/>
              <a:gd name="connsiteX3" fmla="*/ 2575 w 8496823"/>
              <a:gd name="connsiteY3" fmla="*/ 5157084 h 5157084"/>
              <a:gd name="connsiteX4" fmla="*/ 0 w 8496823"/>
              <a:gd name="connsiteY4" fmla="*/ 3983462 h 5157084"/>
              <a:gd name="connsiteX5" fmla="*/ 1641398 w 8496823"/>
              <a:gd name="connsiteY5" fmla="*/ 0 h 5157084"/>
              <a:gd name="connsiteX0" fmla="*/ 1638256 w 8496823"/>
              <a:gd name="connsiteY0" fmla="*/ 0 h 5157084"/>
              <a:gd name="connsiteX1" fmla="*/ 8496823 w 8496823"/>
              <a:gd name="connsiteY1" fmla="*/ 1424 h 5157084"/>
              <a:gd name="connsiteX2" fmla="*/ 4284746 w 8496823"/>
              <a:gd name="connsiteY2" fmla="*/ 5157084 h 5157084"/>
              <a:gd name="connsiteX3" fmla="*/ 2575 w 8496823"/>
              <a:gd name="connsiteY3" fmla="*/ 5157084 h 5157084"/>
              <a:gd name="connsiteX4" fmla="*/ 0 w 8496823"/>
              <a:gd name="connsiteY4" fmla="*/ 3983462 h 5157084"/>
              <a:gd name="connsiteX5" fmla="*/ 1638256 w 8496823"/>
              <a:gd name="connsiteY5" fmla="*/ 0 h 5157084"/>
              <a:gd name="connsiteX0" fmla="*/ 1638256 w 8496823"/>
              <a:gd name="connsiteY0" fmla="*/ 0 h 6846184"/>
              <a:gd name="connsiteX1" fmla="*/ 8496823 w 8496823"/>
              <a:gd name="connsiteY1" fmla="*/ 1424 h 6846184"/>
              <a:gd name="connsiteX2" fmla="*/ 2900446 w 8496823"/>
              <a:gd name="connsiteY2" fmla="*/ 6846184 h 6846184"/>
              <a:gd name="connsiteX3" fmla="*/ 2575 w 8496823"/>
              <a:gd name="connsiteY3" fmla="*/ 5157084 h 6846184"/>
              <a:gd name="connsiteX4" fmla="*/ 0 w 8496823"/>
              <a:gd name="connsiteY4" fmla="*/ 3983462 h 6846184"/>
              <a:gd name="connsiteX5" fmla="*/ 1638256 w 8496823"/>
              <a:gd name="connsiteY5" fmla="*/ 0 h 6846184"/>
              <a:gd name="connsiteX0" fmla="*/ 1648381 w 8506948"/>
              <a:gd name="connsiteY0" fmla="*/ 0 h 6858884"/>
              <a:gd name="connsiteX1" fmla="*/ 8506948 w 8506948"/>
              <a:gd name="connsiteY1" fmla="*/ 1424 h 6858884"/>
              <a:gd name="connsiteX2" fmla="*/ 2910571 w 8506948"/>
              <a:gd name="connsiteY2" fmla="*/ 6846184 h 6858884"/>
              <a:gd name="connsiteX3" fmla="*/ 0 w 8506948"/>
              <a:gd name="connsiteY3" fmla="*/ 6858884 h 6858884"/>
              <a:gd name="connsiteX4" fmla="*/ 10125 w 8506948"/>
              <a:gd name="connsiteY4" fmla="*/ 3983462 h 6858884"/>
              <a:gd name="connsiteX5" fmla="*/ 1648381 w 8506948"/>
              <a:gd name="connsiteY5" fmla="*/ 0 h 6858884"/>
              <a:gd name="connsiteX0" fmla="*/ 1597581 w 8506948"/>
              <a:gd name="connsiteY0" fmla="*/ 0 h 6858884"/>
              <a:gd name="connsiteX1" fmla="*/ 8506948 w 8506948"/>
              <a:gd name="connsiteY1" fmla="*/ 1424 h 6858884"/>
              <a:gd name="connsiteX2" fmla="*/ 2910571 w 8506948"/>
              <a:gd name="connsiteY2" fmla="*/ 6846184 h 6858884"/>
              <a:gd name="connsiteX3" fmla="*/ 0 w 8506948"/>
              <a:gd name="connsiteY3" fmla="*/ 6858884 h 6858884"/>
              <a:gd name="connsiteX4" fmla="*/ 10125 w 8506948"/>
              <a:gd name="connsiteY4" fmla="*/ 3983462 h 6858884"/>
              <a:gd name="connsiteX5" fmla="*/ 1597581 w 8506948"/>
              <a:gd name="connsiteY5" fmla="*/ 0 h 6858884"/>
              <a:gd name="connsiteX0" fmla="*/ 2083733 w 8993100"/>
              <a:gd name="connsiteY0" fmla="*/ 0 h 6858884"/>
              <a:gd name="connsiteX1" fmla="*/ 8993100 w 8993100"/>
              <a:gd name="connsiteY1" fmla="*/ 1424 h 6858884"/>
              <a:gd name="connsiteX2" fmla="*/ 3396723 w 8993100"/>
              <a:gd name="connsiteY2" fmla="*/ 6846184 h 6858884"/>
              <a:gd name="connsiteX3" fmla="*/ 486152 w 8993100"/>
              <a:gd name="connsiteY3" fmla="*/ 6858884 h 6858884"/>
              <a:gd name="connsiteX4" fmla="*/ 0 w 8993100"/>
              <a:gd name="connsiteY4" fmla="*/ 5136231 h 6858884"/>
              <a:gd name="connsiteX5" fmla="*/ 2083733 w 8993100"/>
              <a:gd name="connsiteY5" fmla="*/ 0 h 6858884"/>
              <a:gd name="connsiteX0" fmla="*/ 2083733 w 8993100"/>
              <a:gd name="connsiteY0" fmla="*/ 0 h 6862792"/>
              <a:gd name="connsiteX1" fmla="*/ 8993100 w 8993100"/>
              <a:gd name="connsiteY1" fmla="*/ 1424 h 6862792"/>
              <a:gd name="connsiteX2" fmla="*/ 3396723 w 8993100"/>
              <a:gd name="connsiteY2" fmla="*/ 6846184 h 6862792"/>
              <a:gd name="connsiteX3" fmla="*/ 9413 w 8993100"/>
              <a:gd name="connsiteY3" fmla="*/ 6862792 h 6862792"/>
              <a:gd name="connsiteX4" fmla="*/ 0 w 8993100"/>
              <a:gd name="connsiteY4" fmla="*/ 5136231 h 6862792"/>
              <a:gd name="connsiteX5" fmla="*/ 2083733 w 8993100"/>
              <a:gd name="connsiteY5" fmla="*/ 0 h 6862792"/>
              <a:gd name="connsiteX0" fmla="*/ 2083733 w 8993100"/>
              <a:gd name="connsiteY0" fmla="*/ 0 h 6862792"/>
              <a:gd name="connsiteX1" fmla="*/ 8993100 w 8993100"/>
              <a:gd name="connsiteY1" fmla="*/ 1424 h 6862792"/>
              <a:gd name="connsiteX2" fmla="*/ 3396723 w 8993100"/>
              <a:gd name="connsiteY2" fmla="*/ 6846184 h 6862792"/>
              <a:gd name="connsiteX3" fmla="*/ 9413 w 8993100"/>
              <a:gd name="connsiteY3" fmla="*/ 6862792 h 6862792"/>
              <a:gd name="connsiteX4" fmla="*/ 0 w 8993100"/>
              <a:gd name="connsiteY4" fmla="*/ 5124508 h 6862792"/>
              <a:gd name="connsiteX5" fmla="*/ 2083733 w 8993100"/>
              <a:gd name="connsiteY5" fmla="*/ 0 h 6862792"/>
              <a:gd name="connsiteX0" fmla="*/ 2083733 w 8993100"/>
              <a:gd name="connsiteY0" fmla="*/ 0 h 6862792"/>
              <a:gd name="connsiteX1" fmla="*/ 8993100 w 8993100"/>
              <a:gd name="connsiteY1" fmla="*/ 1424 h 6862792"/>
              <a:gd name="connsiteX2" fmla="*/ 3388908 w 8993100"/>
              <a:gd name="connsiteY2" fmla="*/ 6857907 h 6862792"/>
              <a:gd name="connsiteX3" fmla="*/ 9413 w 8993100"/>
              <a:gd name="connsiteY3" fmla="*/ 6862792 h 6862792"/>
              <a:gd name="connsiteX4" fmla="*/ 0 w 8993100"/>
              <a:gd name="connsiteY4" fmla="*/ 5124508 h 6862792"/>
              <a:gd name="connsiteX5" fmla="*/ 2083733 w 8993100"/>
              <a:gd name="connsiteY5" fmla="*/ 0 h 6862792"/>
              <a:gd name="connsiteX0" fmla="*/ 2083733 w 8993100"/>
              <a:gd name="connsiteY0" fmla="*/ 0 h 6862792"/>
              <a:gd name="connsiteX1" fmla="*/ 8993100 w 8993100"/>
              <a:gd name="connsiteY1" fmla="*/ 1424 h 6862792"/>
              <a:gd name="connsiteX2" fmla="*/ 3388908 w 8993100"/>
              <a:gd name="connsiteY2" fmla="*/ 6857907 h 6862792"/>
              <a:gd name="connsiteX3" fmla="*/ 9413 w 8993100"/>
              <a:gd name="connsiteY3" fmla="*/ 6862792 h 6862792"/>
              <a:gd name="connsiteX4" fmla="*/ 0 w 8993100"/>
              <a:gd name="connsiteY4" fmla="*/ 5124508 h 6862792"/>
              <a:gd name="connsiteX5" fmla="*/ 2083733 w 8993100"/>
              <a:gd name="connsiteY5" fmla="*/ 0 h 6862792"/>
              <a:gd name="connsiteX0" fmla="*/ 2083733 w 8993100"/>
              <a:gd name="connsiteY0" fmla="*/ 0 h 6857907"/>
              <a:gd name="connsiteX1" fmla="*/ 8993100 w 8993100"/>
              <a:gd name="connsiteY1" fmla="*/ 1424 h 6857907"/>
              <a:gd name="connsiteX2" fmla="*/ 3388908 w 8993100"/>
              <a:gd name="connsiteY2" fmla="*/ 6857907 h 6857907"/>
              <a:gd name="connsiteX3" fmla="*/ 99290 w 8993100"/>
              <a:gd name="connsiteY3" fmla="*/ 6851069 h 6857907"/>
              <a:gd name="connsiteX4" fmla="*/ 0 w 8993100"/>
              <a:gd name="connsiteY4" fmla="*/ 5124508 h 6857907"/>
              <a:gd name="connsiteX5" fmla="*/ 2083733 w 8993100"/>
              <a:gd name="connsiteY5" fmla="*/ 0 h 6857907"/>
              <a:gd name="connsiteX0" fmla="*/ 2083733 w 8993100"/>
              <a:gd name="connsiteY0" fmla="*/ 0 h 6862792"/>
              <a:gd name="connsiteX1" fmla="*/ 8993100 w 8993100"/>
              <a:gd name="connsiteY1" fmla="*/ 1424 h 6862792"/>
              <a:gd name="connsiteX2" fmla="*/ 3388908 w 8993100"/>
              <a:gd name="connsiteY2" fmla="*/ 6857907 h 6862792"/>
              <a:gd name="connsiteX3" fmla="*/ 5505 w 8993100"/>
              <a:gd name="connsiteY3" fmla="*/ 6862792 h 6862792"/>
              <a:gd name="connsiteX4" fmla="*/ 0 w 8993100"/>
              <a:gd name="connsiteY4" fmla="*/ 5124508 h 6862792"/>
              <a:gd name="connsiteX5" fmla="*/ 2083733 w 8993100"/>
              <a:gd name="connsiteY5" fmla="*/ 0 h 6862792"/>
              <a:gd name="connsiteX0" fmla="*/ 2083733 w 8993100"/>
              <a:gd name="connsiteY0" fmla="*/ 0 h 6867554"/>
              <a:gd name="connsiteX1" fmla="*/ 8993100 w 8993100"/>
              <a:gd name="connsiteY1" fmla="*/ 6186 h 6867554"/>
              <a:gd name="connsiteX2" fmla="*/ 3388908 w 8993100"/>
              <a:gd name="connsiteY2" fmla="*/ 6862669 h 6867554"/>
              <a:gd name="connsiteX3" fmla="*/ 5505 w 8993100"/>
              <a:gd name="connsiteY3" fmla="*/ 6867554 h 6867554"/>
              <a:gd name="connsiteX4" fmla="*/ 0 w 8993100"/>
              <a:gd name="connsiteY4" fmla="*/ 5129270 h 6867554"/>
              <a:gd name="connsiteX5" fmla="*/ 2083733 w 8993100"/>
              <a:gd name="connsiteY5" fmla="*/ 0 h 6867554"/>
              <a:gd name="connsiteX0" fmla="*/ 2083733 w 8791676"/>
              <a:gd name="connsiteY0" fmla="*/ 0 h 6867554"/>
              <a:gd name="connsiteX1" fmla="*/ 8791676 w 8791676"/>
              <a:gd name="connsiteY1" fmla="*/ 22172 h 6867554"/>
              <a:gd name="connsiteX2" fmla="*/ 3388908 w 8791676"/>
              <a:gd name="connsiteY2" fmla="*/ 6862669 h 6867554"/>
              <a:gd name="connsiteX3" fmla="*/ 5505 w 8791676"/>
              <a:gd name="connsiteY3" fmla="*/ 6867554 h 6867554"/>
              <a:gd name="connsiteX4" fmla="*/ 0 w 8791676"/>
              <a:gd name="connsiteY4" fmla="*/ 5129270 h 6867554"/>
              <a:gd name="connsiteX5" fmla="*/ 2083733 w 8791676"/>
              <a:gd name="connsiteY5" fmla="*/ 0 h 6867554"/>
              <a:gd name="connsiteX0" fmla="*/ 2083733 w 8948339"/>
              <a:gd name="connsiteY0" fmla="*/ 208 h 6867762"/>
              <a:gd name="connsiteX1" fmla="*/ 8948339 w 8948339"/>
              <a:gd name="connsiteY1" fmla="*/ 0 h 6867762"/>
              <a:gd name="connsiteX2" fmla="*/ 3388908 w 8948339"/>
              <a:gd name="connsiteY2" fmla="*/ 6862877 h 6867762"/>
              <a:gd name="connsiteX3" fmla="*/ 5505 w 8948339"/>
              <a:gd name="connsiteY3" fmla="*/ 6867762 h 6867762"/>
              <a:gd name="connsiteX4" fmla="*/ 0 w 8948339"/>
              <a:gd name="connsiteY4" fmla="*/ 5129478 h 6867762"/>
              <a:gd name="connsiteX5" fmla="*/ 2083733 w 8948339"/>
              <a:gd name="connsiteY5" fmla="*/ 208 h 68677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948339" h="6867762">
                <a:moveTo>
                  <a:pt x="2083733" y="208"/>
                </a:moveTo>
                <a:lnTo>
                  <a:pt x="8948339" y="0"/>
                </a:lnTo>
                <a:lnTo>
                  <a:pt x="3388908" y="6862877"/>
                </a:lnTo>
                <a:lnTo>
                  <a:pt x="5505" y="6867762"/>
                </a:lnTo>
                <a:cubicBezTo>
                  <a:pt x="5505" y="6488575"/>
                  <a:pt x="0" y="5508665"/>
                  <a:pt x="0" y="5129478"/>
                </a:cubicBezTo>
                <a:lnTo>
                  <a:pt x="2083733" y="208"/>
                </a:lnTo>
                <a:close/>
              </a:path>
            </a:pathLst>
          </a:custGeom>
          <a:solidFill>
            <a:srgbClr val="55575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solidFill>
                <a:srgbClr val="FFFFFF"/>
              </a:solidFill>
            </a:endParaRPr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1866737" y="3588760"/>
            <a:ext cx="6604000" cy="0"/>
          </a:xfrm>
          <a:prstGeom prst="line">
            <a:avLst/>
          </a:prstGeom>
          <a:ln w="12700" cmpd="sng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19"/>
          <p:cNvSpPr>
            <a:spLocks noGrp="1"/>
          </p:cNvSpPr>
          <p:nvPr>
            <p:ph type="body" sz="quarter" idx="18" hasCustomPrompt="1"/>
          </p:nvPr>
        </p:nvSpPr>
        <p:spPr>
          <a:xfrm>
            <a:off x="1866739" y="3692359"/>
            <a:ext cx="5576799" cy="343400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FontTx/>
              <a:buNone/>
              <a:defRPr sz="1600" cap="all">
                <a:solidFill>
                  <a:schemeClr val="accent2"/>
                </a:solidFill>
                <a:latin typeface="+mn-lt"/>
              </a:defRPr>
            </a:lvl1pPr>
          </a:lstStyle>
          <a:p>
            <a:r>
              <a:rPr lang="en-US" sz="1600" dirty="0"/>
              <a:t>Click to edit SUBTITLE</a:t>
            </a:r>
          </a:p>
        </p:txBody>
      </p:sp>
      <p:sp>
        <p:nvSpPr>
          <p:cNvPr id="13" name="Text Placeholder 23"/>
          <p:cNvSpPr>
            <a:spLocks noGrp="1"/>
          </p:cNvSpPr>
          <p:nvPr>
            <p:ph type="body" sz="quarter" idx="19"/>
          </p:nvPr>
        </p:nvSpPr>
        <p:spPr>
          <a:xfrm>
            <a:off x="1866740" y="3059449"/>
            <a:ext cx="6154313" cy="452437"/>
          </a:xfrm>
          <a:prstGeom prst="rect">
            <a:avLst/>
          </a:prstGeom>
        </p:spPr>
        <p:txBody>
          <a:bodyPr vert="horz" lIns="0" rIns="0" bIns="0" anchor="b"/>
          <a:lstStyle>
            <a:lvl1pPr marL="0" indent="0">
              <a:buFontTx/>
              <a:buNone/>
              <a:defRPr sz="2500" cap="all" baseline="0">
                <a:solidFill>
                  <a:schemeClr val="bg1"/>
                </a:solidFill>
                <a:latin typeface="+mj-lt"/>
              </a:defRPr>
            </a:lvl1pPr>
            <a:lvl2pPr marL="457178" indent="0">
              <a:buFontTx/>
              <a:buNone/>
              <a:defRPr sz="2400" cap="all" baseline="0">
                <a:solidFill>
                  <a:schemeClr val="bg1"/>
                </a:solidFill>
              </a:defRPr>
            </a:lvl2pPr>
            <a:lvl3pPr marL="914354" indent="0">
              <a:buFontTx/>
              <a:buNone/>
              <a:defRPr sz="2400" cap="all" baseline="0">
                <a:solidFill>
                  <a:schemeClr val="bg1"/>
                </a:solidFill>
              </a:defRPr>
            </a:lvl3pPr>
            <a:lvl4pPr marL="1371532" indent="0">
              <a:buFontTx/>
              <a:buNone/>
              <a:defRPr sz="2400" cap="all" baseline="0">
                <a:solidFill>
                  <a:schemeClr val="bg1"/>
                </a:solidFill>
              </a:defRPr>
            </a:lvl4pPr>
            <a:lvl5pPr marL="1828709" indent="0">
              <a:buFontTx/>
              <a:buNone/>
              <a:defRPr sz="2400" cap="all" baseline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79975" y="6197563"/>
            <a:ext cx="2658995" cy="343835"/>
          </a:xfrm>
          <a:prstGeom prst="rect">
            <a:avLst/>
          </a:prstGeom>
        </p:spPr>
      </p:pic>
      <p:sp>
        <p:nvSpPr>
          <p:cNvPr id="4" name="Text Placeholder 3"/>
          <p:cNvSpPr>
            <a:spLocks noGrp="1"/>
          </p:cNvSpPr>
          <p:nvPr>
            <p:ph type="body" sz="quarter" idx="20" hasCustomPrompt="1"/>
          </p:nvPr>
        </p:nvSpPr>
        <p:spPr>
          <a:xfrm>
            <a:off x="1866737" y="4200993"/>
            <a:ext cx="4267200" cy="347472"/>
          </a:xfrm>
        </p:spPr>
        <p:txBody>
          <a:bodyPr anchor="ctr"/>
          <a:lstStyle>
            <a:lvl1pPr marL="0" indent="0">
              <a:buNone/>
              <a:defRPr sz="16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Insert Date</a:t>
            </a:r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21" hasCustomPrompt="1"/>
          </p:nvPr>
        </p:nvSpPr>
        <p:spPr>
          <a:xfrm>
            <a:off x="1866737" y="4889321"/>
            <a:ext cx="4267200" cy="347472"/>
          </a:xfrm>
        </p:spPr>
        <p:txBody>
          <a:bodyPr anchor="ctr"/>
          <a:lstStyle>
            <a:lvl1pPr marL="0" indent="0">
              <a:buNone/>
              <a:defRPr sz="105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Navigant Reference No:</a:t>
            </a:r>
          </a:p>
        </p:txBody>
      </p:sp>
      <p:sp>
        <p:nvSpPr>
          <p:cNvPr id="15" name="Freeform 14"/>
          <p:cNvSpPr/>
          <p:nvPr userDrawn="1"/>
        </p:nvSpPr>
        <p:spPr>
          <a:xfrm>
            <a:off x="-8596" y="-3908"/>
            <a:ext cx="2781343" cy="5136220"/>
          </a:xfrm>
          <a:custGeom>
            <a:avLst/>
            <a:gdLst>
              <a:gd name="connsiteX0" fmla="*/ 0 w 1661746"/>
              <a:gd name="connsiteY0" fmla="*/ 0 h 4044462"/>
              <a:gd name="connsiteX1" fmla="*/ 1661746 w 1661746"/>
              <a:gd name="connsiteY1" fmla="*/ 0 h 4044462"/>
              <a:gd name="connsiteX2" fmla="*/ 17585 w 1661746"/>
              <a:gd name="connsiteY2" fmla="*/ 4044462 h 4044462"/>
              <a:gd name="connsiteX3" fmla="*/ 0 w 1661746"/>
              <a:gd name="connsiteY3" fmla="*/ 0 h 4044462"/>
              <a:gd name="connsiteX0" fmla="*/ 0 w 1661746"/>
              <a:gd name="connsiteY0" fmla="*/ 0 h 4039867"/>
              <a:gd name="connsiteX1" fmla="*/ 1661746 w 1661746"/>
              <a:gd name="connsiteY1" fmla="*/ 0 h 4039867"/>
              <a:gd name="connsiteX2" fmla="*/ 12990 w 1661746"/>
              <a:gd name="connsiteY2" fmla="*/ 4039867 h 4039867"/>
              <a:gd name="connsiteX3" fmla="*/ 0 w 1661746"/>
              <a:gd name="connsiteY3" fmla="*/ 0 h 4039867"/>
              <a:gd name="connsiteX0" fmla="*/ 170948 w 1648895"/>
              <a:gd name="connsiteY0" fmla="*/ 284889 h 4039867"/>
              <a:gd name="connsiteX1" fmla="*/ 1648895 w 1648895"/>
              <a:gd name="connsiteY1" fmla="*/ 0 h 4039867"/>
              <a:gd name="connsiteX2" fmla="*/ 139 w 1648895"/>
              <a:gd name="connsiteY2" fmla="*/ 4039867 h 4039867"/>
              <a:gd name="connsiteX3" fmla="*/ 170948 w 1648895"/>
              <a:gd name="connsiteY3" fmla="*/ 284889 h 4039867"/>
              <a:gd name="connsiteX0" fmla="*/ 170948 w 1653490"/>
              <a:gd name="connsiteY0" fmla="*/ 225154 h 3980132"/>
              <a:gd name="connsiteX1" fmla="*/ 1653490 w 1653490"/>
              <a:gd name="connsiteY1" fmla="*/ 0 h 3980132"/>
              <a:gd name="connsiteX2" fmla="*/ 139 w 1653490"/>
              <a:gd name="connsiteY2" fmla="*/ 3980132 h 3980132"/>
              <a:gd name="connsiteX3" fmla="*/ 170948 w 1653490"/>
              <a:gd name="connsiteY3" fmla="*/ 225154 h 3980132"/>
              <a:gd name="connsiteX0" fmla="*/ 170948 w 1658085"/>
              <a:gd name="connsiteY0" fmla="*/ 284889 h 4039867"/>
              <a:gd name="connsiteX1" fmla="*/ 1658085 w 1658085"/>
              <a:gd name="connsiteY1" fmla="*/ 0 h 4039867"/>
              <a:gd name="connsiteX2" fmla="*/ 139 w 1658085"/>
              <a:gd name="connsiteY2" fmla="*/ 4039867 h 4039867"/>
              <a:gd name="connsiteX3" fmla="*/ 170948 w 1658085"/>
              <a:gd name="connsiteY3" fmla="*/ 284889 h 4039867"/>
              <a:gd name="connsiteX0" fmla="*/ 0 w 1666341"/>
              <a:gd name="connsiteY0" fmla="*/ 4595 h 4039867"/>
              <a:gd name="connsiteX1" fmla="*/ 1666341 w 1666341"/>
              <a:gd name="connsiteY1" fmla="*/ 0 h 4039867"/>
              <a:gd name="connsiteX2" fmla="*/ 8395 w 1666341"/>
              <a:gd name="connsiteY2" fmla="*/ 4039867 h 4039867"/>
              <a:gd name="connsiteX3" fmla="*/ 0 w 1666341"/>
              <a:gd name="connsiteY3" fmla="*/ 4595 h 4039867"/>
              <a:gd name="connsiteX0" fmla="*/ 0 w 1666341"/>
              <a:gd name="connsiteY0" fmla="*/ 4595 h 4035272"/>
              <a:gd name="connsiteX1" fmla="*/ 1666341 w 1666341"/>
              <a:gd name="connsiteY1" fmla="*/ 0 h 4035272"/>
              <a:gd name="connsiteX2" fmla="*/ 8395 w 1666341"/>
              <a:gd name="connsiteY2" fmla="*/ 4035272 h 4035272"/>
              <a:gd name="connsiteX3" fmla="*/ 0 w 1666341"/>
              <a:gd name="connsiteY3" fmla="*/ 4595 h 4035272"/>
              <a:gd name="connsiteX0" fmla="*/ 56296 w 1658307"/>
              <a:gd name="connsiteY0" fmla="*/ 114874 h 4035272"/>
              <a:gd name="connsiteX1" fmla="*/ 1658307 w 1658307"/>
              <a:gd name="connsiteY1" fmla="*/ 0 h 4035272"/>
              <a:gd name="connsiteX2" fmla="*/ 361 w 1658307"/>
              <a:gd name="connsiteY2" fmla="*/ 4035272 h 4035272"/>
              <a:gd name="connsiteX3" fmla="*/ 56296 w 1658307"/>
              <a:gd name="connsiteY3" fmla="*/ 114874 h 4035272"/>
              <a:gd name="connsiteX0" fmla="*/ 2400 w 1659551"/>
              <a:gd name="connsiteY0" fmla="*/ 9190 h 4035272"/>
              <a:gd name="connsiteX1" fmla="*/ 1659551 w 1659551"/>
              <a:gd name="connsiteY1" fmla="*/ 0 h 4035272"/>
              <a:gd name="connsiteX2" fmla="*/ 1605 w 1659551"/>
              <a:gd name="connsiteY2" fmla="*/ 4035272 h 4035272"/>
              <a:gd name="connsiteX3" fmla="*/ 2400 w 1659551"/>
              <a:gd name="connsiteY3" fmla="*/ 9190 h 4035272"/>
              <a:gd name="connsiteX0" fmla="*/ 146 w 1659873"/>
              <a:gd name="connsiteY0" fmla="*/ 6614 h 4035272"/>
              <a:gd name="connsiteX1" fmla="*/ 1659873 w 1659873"/>
              <a:gd name="connsiteY1" fmla="*/ 0 h 4035272"/>
              <a:gd name="connsiteX2" fmla="*/ 1927 w 1659873"/>
              <a:gd name="connsiteY2" fmla="*/ 4035272 h 4035272"/>
              <a:gd name="connsiteX3" fmla="*/ 146 w 1659873"/>
              <a:gd name="connsiteY3" fmla="*/ 6614 h 4035272"/>
              <a:gd name="connsiteX0" fmla="*/ 146 w 1649570"/>
              <a:gd name="connsiteY0" fmla="*/ 0 h 4028658"/>
              <a:gd name="connsiteX1" fmla="*/ 1649570 w 1649570"/>
              <a:gd name="connsiteY1" fmla="*/ 11416 h 4028658"/>
              <a:gd name="connsiteX2" fmla="*/ 1927 w 1649570"/>
              <a:gd name="connsiteY2" fmla="*/ 4028658 h 4028658"/>
              <a:gd name="connsiteX3" fmla="*/ 146 w 1649570"/>
              <a:gd name="connsiteY3" fmla="*/ 0 h 4028658"/>
              <a:gd name="connsiteX0" fmla="*/ 57814 w 1647996"/>
              <a:gd name="connsiteY0" fmla="*/ 109645 h 4017242"/>
              <a:gd name="connsiteX1" fmla="*/ 1647996 w 1647996"/>
              <a:gd name="connsiteY1" fmla="*/ 0 h 4017242"/>
              <a:gd name="connsiteX2" fmla="*/ 353 w 1647996"/>
              <a:gd name="connsiteY2" fmla="*/ 4017242 h 4017242"/>
              <a:gd name="connsiteX3" fmla="*/ 57814 w 1647996"/>
              <a:gd name="connsiteY3" fmla="*/ 109645 h 4017242"/>
              <a:gd name="connsiteX0" fmla="*/ 52689 w 1648022"/>
              <a:gd name="connsiteY0" fmla="*/ 65857 h 4017242"/>
              <a:gd name="connsiteX1" fmla="*/ 1648022 w 1648022"/>
              <a:gd name="connsiteY1" fmla="*/ 0 h 4017242"/>
              <a:gd name="connsiteX2" fmla="*/ 379 w 1648022"/>
              <a:gd name="connsiteY2" fmla="*/ 4017242 h 4017242"/>
              <a:gd name="connsiteX3" fmla="*/ 52689 w 1648022"/>
              <a:gd name="connsiteY3" fmla="*/ 65857 h 4017242"/>
              <a:gd name="connsiteX0" fmla="*/ 9598 w 1648720"/>
              <a:gd name="connsiteY0" fmla="*/ 0 h 4020931"/>
              <a:gd name="connsiteX1" fmla="*/ 1648720 w 1648720"/>
              <a:gd name="connsiteY1" fmla="*/ 3689 h 4020931"/>
              <a:gd name="connsiteX2" fmla="*/ 1077 w 1648720"/>
              <a:gd name="connsiteY2" fmla="*/ 4020931 h 4020931"/>
              <a:gd name="connsiteX3" fmla="*/ 9598 w 1648720"/>
              <a:gd name="connsiteY3" fmla="*/ 0 h 4020931"/>
              <a:gd name="connsiteX0" fmla="*/ 12067 w 1651189"/>
              <a:gd name="connsiteY0" fmla="*/ 0 h 4023507"/>
              <a:gd name="connsiteX1" fmla="*/ 1651189 w 1651189"/>
              <a:gd name="connsiteY1" fmla="*/ 3689 h 4023507"/>
              <a:gd name="connsiteX2" fmla="*/ 971 w 1651189"/>
              <a:gd name="connsiteY2" fmla="*/ 4023507 h 4023507"/>
              <a:gd name="connsiteX3" fmla="*/ 12067 w 1651189"/>
              <a:gd name="connsiteY3" fmla="*/ 0 h 4023507"/>
              <a:gd name="connsiteX0" fmla="*/ 0 w 1639122"/>
              <a:gd name="connsiteY0" fmla="*/ 0 h 4023507"/>
              <a:gd name="connsiteX1" fmla="*/ 1639122 w 1639122"/>
              <a:gd name="connsiteY1" fmla="*/ 3689 h 4023507"/>
              <a:gd name="connsiteX2" fmla="*/ 6935 w 1639122"/>
              <a:gd name="connsiteY2" fmla="*/ 4023507 h 4023507"/>
              <a:gd name="connsiteX3" fmla="*/ 0 w 1639122"/>
              <a:gd name="connsiteY3" fmla="*/ 0 h 4023507"/>
              <a:gd name="connsiteX0" fmla="*/ 17059 w 1656181"/>
              <a:gd name="connsiteY0" fmla="*/ 0 h 4015780"/>
              <a:gd name="connsiteX1" fmla="*/ 1656181 w 1656181"/>
              <a:gd name="connsiteY1" fmla="*/ 3689 h 4015780"/>
              <a:gd name="connsiteX2" fmla="*/ 812 w 1656181"/>
              <a:gd name="connsiteY2" fmla="*/ 4015780 h 4015780"/>
              <a:gd name="connsiteX3" fmla="*/ 17059 w 1656181"/>
              <a:gd name="connsiteY3" fmla="*/ 0 h 4015780"/>
              <a:gd name="connsiteX0" fmla="*/ 0 w 1639122"/>
              <a:gd name="connsiteY0" fmla="*/ 0 h 3899870"/>
              <a:gd name="connsiteX1" fmla="*/ 1639122 w 1639122"/>
              <a:gd name="connsiteY1" fmla="*/ 3689 h 3899870"/>
              <a:gd name="connsiteX2" fmla="*/ 73905 w 1639122"/>
              <a:gd name="connsiteY2" fmla="*/ 3899870 h 3899870"/>
              <a:gd name="connsiteX3" fmla="*/ 0 w 1639122"/>
              <a:gd name="connsiteY3" fmla="*/ 0 h 3899870"/>
              <a:gd name="connsiteX0" fmla="*/ 0 w 1639122"/>
              <a:gd name="connsiteY0" fmla="*/ 0 h 3987447"/>
              <a:gd name="connsiteX1" fmla="*/ 1639122 w 1639122"/>
              <a:gd name="connsiteY1" fmla="*/ 3689 h 3987447"/>
              <a:gd name="connsiteX2" fmla="*/ 6935 w 1639122"/>
              <a:gd name="connsiteY2" fmla="*/ 3987447 h 3987447"/>
              <a:gd name="connsiteX3" fmla="*/ 0 w 1639122"/>
              <a:gd name="connsiteY3" fmla="*/ 0 h 3987447"/>
              <a:gd name="connsiteX0" fmla="*/ 144 w 1639266"/>
              <a:gd name="connsiteY0" fmla="*/ 0 h 3987447"/>
              <a:gd name="connsiteX1" fmla="*/ 1639266 w 1639266"/>
              <a:gd name="connsiteY1" fmla="*/ 3689 h 3987447"/>
              <a:gd name="connsiteX2" fmla="*/ 1927 w 1639266"/>
              <a:gd name="connsiteY2" fmla="*/ 3987447 h 3987447"/>
              <a:gd name="connsiteX3" fmla="*/ 144 w 1639266"/>
              <a:gd name="connsiteY3" fmla="*/ 0 h 3987447"/>
              <a:gd name="connsiteX0" fmla="*/ 2397 w 1641519"/>
              <a:gd name="connsiteY0" fmla="*/ 0 h 3995174"/>
              <a:gd name="connsiteX1" fmla="*/ 1641519 w 1641519"/>
              <a:gd name="connsiteY1" fmla="*/ 3689 h 3995174"/>
              <a:gd name="connsiteX2" fmla="*/ 1605 w 1641519"/>
              <a:gd name="connsiteY2" fmla="*/ 3995174 h 3995174"/>
              <a:gd name="connsiteX3" fmla="*/ 2397 w 1641519"/>
              <a:gd name="connsiteY3" fmla="*/ 0 h 3995174"/>
              <a:gd name="connsiteX0" fmla="*/ 9681 w 1648803"/>
              <a:gd name="connsiteY0" fmla="*/ 0 h 5116681"/>
              <a:gd name="connsiteX1" fmla="*/ 1648803 w 1648803"/>
              <a:gd name="connsiteY1" fmla="*/ 3689 h 5116681"/>
              <a:gd name="connsiteX2" fmla="*/ 1073 w 1648803"/>
              <a:gd name="connsiteY2" fmla="*/ 5116681 h 5116681"/>
              <a:gd name="connsiteX3" fmla="*/ 9681 w 1648803"/>
              <a:gd name="connsiteY3" fmla="*/ 0 h 5116681"/>
              <a:gd name="connsiteX0" fmla="*/ 9681 w 2078650"/>
              <a:gd name="connsiteY0" fmla="*/ 0 h 5116681"/>
              <a:gd name="connsiteX1" fmla="*/ 2078650 w 2078650"/>
              <a:gd name="connsiteY1" fmla="*/ 3689 h 5116681"/>
              <a:gd name="connsiteX2" fmla="*/ 1073 w 2078650"/>
              <a:gd name="connsiteY2" fmla="*/ 5116681 h 5116681"/>
              <a:gd name="connsiteX3" fmla="*/ 9681 w 2078650"/>
              <a:gd name="connsiteY3" fmla="*/ 0 h 5116681"/>
              <a:gd name="connsiteX0" fmla="*/ 5986 w 2078862"/>
              <a:gd name="connsiteY0" fmla="*/ 0 h 5120589"/>
              <a:gd name="connsiteX1" fmla="*/ 2078862 w 2078862"/>
              <a:gd name="connsiteY1" fmla="*/ 7597 h 5120589"/>
              <a:gd name="connsiteX2" fmla="*/ 1285 w 2078862"/>
              <a:gd name="connsiteY2" fmla="*/ 5120589 h 5120589"/>
              <a:gd name="connsiteX3" fmla="*/ 5986 w 2078862"/>
              <a:gd name="connsiteY3" fmla="*/ 0 h 5120589"/>
              <a:gd name="connsiteX0" fmla="*/ 2400 w 2075276"/>
              <a:gd name="connsiteY0" fmla="*/ 0 h 5108866"/>
              <a:gd name="connsiteX1" fmla="*/ 2075276 w 2075276"/>
              <a:gd name="connsiteY1" fmla="*/ 7597 h 5108866"/>
              <a:gd name="connsiteX2" fmla="*/ 1606 w 2075276"/>
              <a:gd name="connsiteY2" fmla="*/ 5108866 h 5108866"/>
              <a:gd name="connsiteX3" fmla="*/ 2400 w 2075276"/>
              <a:gd name="connsiteY3" fmla="*/ 0 h 5108866"/>
              <a:gd name="connsiteX0" fmla="*/ 5987 w 2078863"/>
              <a:gd name="connsiteY0" fmla="*/ 0 h 5136220"/>
              <a:gd name="connsiteX1" fmla="*/ 2078863 w 2078863"/>
              <a:gd name="connsiteY1" fmla="*/ 7597 h 5136220"/>
              <a:gd name="connsiteX2" fmla="*/ 1285 w 2078863"/>
              <a:gd name="connsiteY2" fmla="*/ 5136220 h 5136220"/>
              <a:gd name="connsiteX3" fmla="*/ 5987 w 2078863"/>
              <a:gd name="connsiteY3" fmla="*/ 0 h 5136220"/>
              <a:gd name="connsiteX0" fmla="*/ 5987 w 2086007"/>
              <a:gd name="connsiteY0" fmla="*/ 0 h 5136220"/>
              <a:gd name="connsiteX1" fmla="*/ 2086007 w 2086007"/>
              <a:gd name="connsiteY1" fmla="*/ 2835 h 5136220"/>
              <a:gd name="connsiteX2" fmla="*/ 1285 w 2086007"/>
              <a:gd name="connsiteY2" fmla="*/ 5136220 h 5136220"/>
              <a:gd name="connsiteX3" fmla="*/ 5987 w 2086007"/>
              <a:gd name="connsiteY3" fmla="*/ 0 h 51362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086007" h="5136220">
                <a:moveTo>
                  <a:pt x="5987" y="0"/>
                </a:moveTo>
                <a:lnTo>
                  <a:pt x="2086007" y="2835"/>
                </a:lnTo>
                <a:cubicBezTo>
                  <a:pt x="1539369" y="1333330"/>
                  <a:pt x="547923" y="3805725"/>
                  <a:pt x="1285" y="5136220"/>
                </a:cubicBezTo>
                <a:cubicBezTo>
                  <a:pt x="-4577" y="3790997"/>
                  <a:pt x="11849" y="1354016"/>
                  <a:pt x="5987" y="0"/>
                </a:cubicBezTo>
                <a:close/>
              </a:path>
            </a:pathLst>
          </a:custGeom>
          <a:gradFill>
            <a:gsLst>
              <a:gs pos="0">
                <a:srgbClr val="648C1A"/>
              </a:gs>
              <a:gs pos="100000">
                <a:schemeClr val="accent2"/>
              </a:gs>
            </a:gsLst>
            <a:lin ang="108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24796620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14" name="think-cell Slide" r:id="rId5" imgW="530" imgH="531" progId="TCLayout.ActiveDocument.1">
                  <p:embed/>
                </p:oleObj>
              </mc:Choice>
              <mc:Fallback>
                <p:oleObj name="think-cell Slide" r:id="rId5" imgW="530" imgH="531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"/>
          <p:cNvSpPr>
            <a:spLocks noGrp="1"/>
          </p:cNvSpPr>
          <p:nvPr>
            <p:ph idx="1"/>
          </p:nvPr>
        </p:nvSpPr>
        <p:spPr bwMode="gray">
          <a:xfrm>
            <a:off x="287453" y="1341114"/>
            <a:ext cx="11625600" cy="4828044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/>
            </a:lvl6pPr>
            <a:lvl7pPr fontAlgn="base">
              <a:lnSpc>
                <a:spcPct val="100000"/>
              </a:lnSpc>
              <a:spcAft>
                <a:spcPts val="0"/>
              </a:spcAft>
              <a:defRPr/>
            </a:lvl7pPr>
            <a:lvl8pPr fontAlgn="base">
              <a:lnSpc>
                <a:spcPct val="100000"/>
              </a:lnSpc>
              <a:spcAft>
                <a:spcPts val="0"/>
              </a:spcAft>
              <a:defRPr/>
            </a:lvl8pPr>
            <a:lvl9pPr fontAlgn="base">
              <a:lnSpc>
                <a:spcPct val="100000"/>
              </a:lnSpc>
              <a:spcAft>
                <a:spcPts val="0"/>
              </a:spcAft>
              <a:defRPr/>
            </a:lvl9pPr>
          </a:lstStyle>
          <a:p>
            <a:pPr lvl="0"/>
            <a:r>
              <a:rPr lang="en-US" altLang="ja-JP"/>
              <a:t>Click to edit Master text styles</a:t>
            </a:r>
          </a:p>
          <a:p>
            <a:pPr lvl="1"/>
            <a:r>
              <a:rPr lang="en-US" altLang="ja-JP"/>
              <a:t>Second level</a:t>
            </a:r>
          </a:p>
          <a:p>
            <a:pPr lvl="2"/>
            <a:r>
              <a:rPr lang="en-US" altLang="ja-JP"/>
              <a:t>Third level</a:t>
            </a:r>
          </a:p>
          <a:p>
            <a:pPr lvl="3"/>
            <a:r>
              <a:rPr lang="en-US" altLang="ja-JP"/>
              <a:t>Fourth level</a:t>
            </a:r>
          </a:p>
          <a:p>
            <a:pPr lvl="4"/>
            <a:r>
              <a:rPr lang="en-US" altLang="ja-JP"/>
              <a:t>Fifth level</a:t>
            </a:r>
            <a:endParaRPr lang="en-GB" dirty="0"/>
          </a:p>
        </p:txBody>
      </p:sp>
      <p:sp>
        <p:nvSpPr>
          <p:cNvPr id="9" name="Title"/>
          <p:cNvSpPr>
            <a:spLocks noGrp="1" noChangeArrowheads="1"/>
          </p:cNvSpPr>
          <p:nvPr>
            <p:ph type="title"/>
            <p:custDataLst>
              <p:tags r:id="rId3"/>
            </p:custDataLst>
          </p:nvPr>
        </p:nvSpPr>
        <p:spPr bwMode="gray">
          <a:xfrm>
            <a:off x="287453" y="1"/>
            <a:ext cx="11625600" cy="1011600"/>
          </a:xfrm>
          <a:prstGeom prst="rect">
            <a:avLst/>
          </a:prstGeom>
        </p:spPr>
        <p:txBody>
          <a:bodyPr anchor="b"/>
          <a:lstStyle/>
          <a:p>
            <a:pPr lvl="0"/>
            <a:r>
              <a:rPr lang="en-US" altLang="ja-JP"/>
              <a:t>Click to edit Master title style</a:t>
            </a:r>
            <a:endParaRPr lang="en-GB" dirty="0"/>
          </a:p>
        </p:txBody>
      </p:sp>
      <p:sp>
        <p:nvSpPr>
          <p:cNvPr id="6" name="Content"/>
          <p:cNvSpPr>
            <a:spLocks noGrp="1"/>
          </p:cNvSpPr>
          <p:nvPr>
            <p:ph idx="10" hasCustomPrompt="1"/>
          </p:nvPr>
        </p:nvSpPr>
        <p:spPr bwMode="gray">
          <a:xfrm>
            <a:off x="287453" y="6046048"/>
            <a:ext cx="11625600" cy="123111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en-US" sz="800" dirty="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/>
            </a:lvl6pPr>
            <a:lvl7pPr fontAlgn="base">
              <a:lnSpc>
                <a:spcPct val="100000"/>
              </a:lnSpc>
              <a:spcAft>
                <a:spcPts val="0"/>
              </a:spcAft>
              <a:defRPr/>
            </a:lvl7pPr>
            <a:lvl8pPr fontAlgn="base">
              <a:lnSpc>
                <a:spcPct val="100000"/>
              </a:lnSpc>
              <a:spcAft>
                <a:spcPts val="0"/>
              </a:spcAft>
              <a:defRPr/>
            </a:lvl8pPr>
            <a:lvl9pPr fontAlgn="base">
              <a:lnSpc>
                <a:spcPct val="100000"/>
              </a:lnSpc>
              <a:spcAft>
                <a:spcPts val="0"/>
              </a:spcAft>
              <a:defRPr/>
            </a:lvl9pPr>
          </a:lstStyle>
          <a:p>
            <a:pPr lvl="0"/>
            <a:r>
              <a:rPr lang="en-GB" dirty="0"/>
              <a:t>Source: </a:t>
            </a:r>
          </a:p>
        </p:txBody>
      </p:sp>
    </p:spTree>
    <p:extLst>
      <p:ext uri="{BB962C8B-B14F-4D97-AF65-F5344CB8AC3E}">
        <p14:creationId xmlns:p14="http://schemas.microsoft.com/office/powerpoint/2010/main" val="4213775616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with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"/>
          <p:cNvSpPr>
            <a:spLocks noGrp="1"/>
          </p:cNvSpPr>
          <p:nvPr>
            <p:ph idx="1"/>
          </p:nvPr>
        </p:nvSpPr>
        <p:spPr bwMode="gray">
          <a:xfrm>
            <a:off x="287453" y="1944002"/>
            <a:ext cx="11625600" cy="4225156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fontAlgn="base">
              <a:lnSpc>
                <a:spcPct val="100000"/>
              </a:lnSpc>
              <a:spcAft>
                <a:spcPts val="0"/>
              </a:spcAft>
              <a:defRPr lang="en-US" sz="1400" dirty="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sz="1400" dirty="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sz="1400" dirty="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sz="1400" dirty="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sz="1400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/>
            </a:lvl6pPr>
            <a:lvl7pPr fontAlgn="base">
              <a:lnSpc>
                <a:spcPct val="100000"/>
              </a:lnSpc>
              <a:spcAft>
                <a:spcPts val="0"/>
              </a:spcAft>
              <a:defRPr/>
            </a:lvl7pPr>
            <a:lvl8pPr fontAlgn="base">
              <a:lnSpc>
                <a:spcPct val="100000"/>
              </a:lnSpc>
              <a:spcAft>
                <a:spcPts val="0"/>
              </a:spcAft>
              <a:defRPr/>
            </a:lvl8pPr>
            <a:lvl9pPr fontAlgn="base">
              <a:lnSpc>
                <a:spcPct val="100000"/>
              </a:lnSpc>
              <a:spcAft>
                <a:spcPts val="0"/>
              </a:spcAft>
              <a:defRPr/>
            </a:lvl9pPr>
          </a:lstStyle>
          <a:p>
            <a:pPr lvl="0"/>
            <a:r>
              <a:rPr lang="en-US" altLang="ja-JP"/>
              <a:t>Click to edit Master text styles</a:t>
            </a:r>
          </a:p>
          <a:p>
            <a:pPr lvl="1"/>
            <a:r>
              <a:rPr lang="en-US" altLang="ja-JP"/>
              <a:t>Second level</a:t>
            </a:r>
          </a:p>
          <a:p>
            <a:pPr lvl="2"/>
            <a:r>
              <a:rPr lang="en-US" altLang="ja-JP"/>
              <a:t>Third level</a:t>
            </a:r>
          </a:p>
          <a:p>
            <a:pPr lvl="3"/>
            <a:r>
              <a:rPr lang="en-US" altLang="ja-JP"/>
              <a:t>Fourth level</a:t>
            </a:r>
          </a:p>
          <a:p>
            <a:pPr lvl="4"/>
            <a:r>
              <a:rPr lang="en-US" altLang="ja-JP"/>
              <a:t>Fifth level</a:t>
            </a:r>
            <a:endParaRPr lang="en-GB" dirty="0"/>
          </a:p>
        </p:txBody>
      </p:sp>
      <p:sp>
        <p:nvSpPr>
          <p:cNvPr id="8" name="Heading 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287453" y="1341115"/>
            <a:ext cx="11625600" cy="430887"/>
          </a:xfrm>
        </p:spPr>
        <p:txBody>
          <a:bodyPr wrap="square" lIns="0" tIns="0" rIns="0" bIns="0"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400" b="1">
                <a:solidFill>
                  <a:schemeClr val="accent1"/>
                </a:solidFill>
                <a:latin typeface="+mn-lt"/>
                <a:sym typeface="+mn-lt"/>
              </a:defRPr>
            </a:lvl1pPr>
            <a:lvl2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400">
                <a:solidFill>
                  <a:schemeClr val="accent1"/>
                </a:solidFill>
                <a:latin typeface="+mn-lt"/>
                <a:sym typeface="+mn-lt"/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Heading 14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4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6" name="Title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gray">
          <a:xfrm>
            <a:off x="287453" y="1"/>
            <a:ext cx="11625600" cy="1011600"/>
          </a:xfrm>
          <a:prstGeom prst="rect">
            <a:avLst/>
          </a:prstGeom>
        </p:spPr>
        <p:txBody>
          <a:bodyPr anchor="b"/>
          <a:lstStyle/>
          <a:p>
            <a:pPr lvl="0"/>
            <a:r>
              <a:rPr lang="en-US" altLang="ja-JP"/>
              <a:t>Click to edit Master title style</a:t>
            </a:r>
            <a:endParaRPr lang="en-GB" dirty="0"/>
          </a:p>
        </p:txBody>
      </p:sp>
      <p:sp>
        <p:nvSpPr>
          <p:cNvPr id="9" name="Content"/>
          <p:cNvSpPr>
            <a:spLocks noGrp="1"/>
          </p:cNvSpPr>
          <p:nvPr>
            <p:ph idx="10" hasCustomPrompt="1"/>
          </p:nvPr>
        </p:nvSpPr>
        <p:spPr bwMode="gray">
          <a:xfrm>
            <a:off x="287453" y="6046048"/>
            <a:ext cx="11625600" cy="123111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en-US" sz="800" dirty="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/>
            </a:lvl6pPr>
            <a:lvl7pPr fontAlgn="base">
              <a:lnSpc>
                <a:spcPct val="100000"/>
              </a:lnSpc>
              <a:spcAft>
                <a:spcPts val="0"/>
              </a:spcAft>
              <a:defRPr/>
            </a:lvl7pPr>
            <a:lvl8pPr fontAlgn="base">
              <a:lnSpc>
                <a:spcPct val="100000"/>
              </a:lnSpc>
              <a:spcAft>
                <a:spcPts val="0"/>
              </a:spcAft>
              <a:defRPr/>
            </a:lvl8pPr>
            <a:lvl9pPr fontAlgn="base">
              <a:lnSpc>
                <a:spcPct val="100000"/>
              </a:lnSpc>
              <a:spcAft>
                <a:spcPts val="0"/>
              </a:spcAft>
              <a:defRPr/>
            </a:lvl9pPr>
          </a:lstStyle>
          <a:p>
            <a:pPr lvl="0"/>
            <a:r>
              <a:rPr lang="en-GB" dirty="0"/>
              <a:t>Source: </a:t>
            </a:r>
          </a:p>
        </p:txBody>
      </p:sp>
    </p:spTree>
    <p:extLst>
      <p:ext uri="{BB962C8B-B14F-4D97-AF65-F5344CB8AC3E}">
        <p14:creationId xmlns:p14="http://schemas.microsoft.com/office/powerpoint/2010/main" val="2608059383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6096007" y="1"/>
            <a:ext cx="6095999" cy="685713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solidFill>
                <a:srgbClr val="FFFFFF"/>
              </a:solidFill>
            </a:endParaRPr>
          </a:p>
        </p:txBody>
      </p:sp>
      <p:sp>
        <p:nvSpPr>
          <p:cNvPr id="19" name="Text Placeholder 23"/>
          <p:cNvSpPr>
            <a:spLocks noGrp="1"/>
          </p:cNvSpPr>
          <p:nvPr>
            <p:ph type="body" sz="quarter" idx="12" hasCustomPrompt="1"/>
          </p:nvPr>
        </p:nvSpPr>
        <p:spPr>
          <a:xfrm>
            <a:off x="8947053" y="858420"/>
            <a:ext cx="2963436" cy="4842504"/>
          </a:xfrm>
          <a:prstGeom prst="rect">
            <a:avLst/>
          </a:prstGeom>
        </p:spPr>
        <p:txBody>
          <a:bodyPr vert="horz" lIns="0" rIns="0" bIns="0" anchor="ctr"/>
          <a:lstStyle>
            <a:lvl1pPr marL="0" indent="0">
              <a:buFontTx/>
              <a:buNone/>
              <a:defRPr sz="2000" cap="all" baseline="0">
                <a:solidFill>
                  <a:srgbClr val="555759"/>
                </a:solidFill>
              </a:defRPr>
            </a:lvl1pPr>
            <a:lvl2pPr marL="457178" indent="0">
              <a:buFontTx/>
              <a:buNone/>
              <a:defRPr sz="2400" cap="all" baseline="0">
                <a:solidFill>
                  <a:schemeClr val="bg1"/>
                </a:solidFill>
              </a:defRPr>
            </a:lvl2pPr>
            <a:lvl3pPr marL="914354" indent="0">
              <a:buFontTx/>
              <a:buNone/>
              <a:defRPr sz="2400" cap="all" baseline="0">
                <a:solidFill>
                  <a:schemeClr val="bg1"/>
                </a:solidFill>
              </a:defRPr>
            </a:lvl3pPr>
            <a:lvl4pPr marL="1371532" indent="0">
              <a:buFontTx/>
              <a:buNone/>
              <a:defRPr sz="2400" cap="all" baseline="0">
                <a:solidFill>
                  <a:schemeClr val="bg1"/>
                </a:solidFill>
              </a:defRPr>
            </a:lvl4pPr>
            <a:lvl5pPr marL="1828709" indent="0">
              <a:buFontTx/>
              <a:buNone/>
              <a:defRPr sz="2400" cap="all" baseline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Section #:</a:t>
            </a:r>
          </a:p>
          <a:p>
            <a:pPr lvl="0"/>
            <a:r>
              <a:rPr lang="en-US" dirty="0"/>
              <a:t>Click to add text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07280" y="6400190"/>
            <a:ext cx="1303209" cy="168518"/>
          </a:xfrm>
          <a:prstGeom prst="rect">
            <a:avLst/>
          </a:prstGeom>
        </p:spPr>
      </p:pic>
      <p:sp>
        <p:nvSpPr>
          <p:cNvPr id="9" name="Rectangle 8"/>
          <p:cNvSpPr/>
          <p:nvPr userDrawn="1"/>
        </p:nvSpPr>
        <p:spPr>
          <a:xfrm>
            <a:off x="1" y="866"/>
            <a:ext cx="6096000" cy="6857135"/>
          </a:xfrm>
          <a:prstGeom prst="rect">
            <a:avLst/>
          </a:prstGeom>
          <a:solidFill>
            <a:srgbClr val="55575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solidFill>
                <a:srgbClr val="FFFFFF"/>
              </a:solidFill>
            </a:endParaRPr>
          </a:p>
        </p:txBody>
      </p:sp>
      <p:pic>
        <p:nvPicPr>
          <p:cNvPr id="21" name="Picture 20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72526" y="858420"/>
            <a:ext cx="5246949" cy="48425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83326371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Right"/>
          <p:cNvSpPr>
            <a:spLocks noGrp="1"/>
          </p:cNvSpPr>
          <p:nvPr>
            <p:ph idx="11"/>
          </p:nvPr>
        </p:nvSpPr>
        <p:spPr bwMode="gray">
          <a:xfrm>
            <a:off x="6393053" y="1341114"/>
            <a:ext cx="5520000" cy="4828044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sz="1200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 sz="1200"/>
            </a:lvl6pPr>
            <a:lvl7pPr fontAlgn="base">
              <a:lnSpc>
                <a:spcPct val="100000"/>
              </a:lnSpc>
              <a:spcAft>
                <a:spcPts val="0"/>
              </a:spcAft>
              <a:defRPr sz="1200"/>
            </a:lvl7pPr>
            <a:lvl8pPr fontAlgn="base">
              <a:lnSpc>
                <a:spcPct val="100000"/>
              </a:lnSpc>
              <a:spcAft>
                <a:spcPts val="0"/>
              </a:spcAft>
              <a:defRPr sz="1200"/>
            </a:lvl8pPr>
            <a:lvl9pPr fontAlgn="base">
              <a:lnSpc>
                <a:spcPct val="100000"/>
              </a:lnSpc>
              <a:spcAft>
                <a:spcPts val="0"/>
              </a:spcAft>
              <a:defRPr sz="1200"/>
            </a:lvl9pPr>
          </a:lstStyle>
          <a:p>
            <a:pPr lvl="0"/>
            <a:r>
              <a:rPr lang="en-US" altLang="ja-JP"/>
              <a:t>Click to edit Master text styles</a:t>
            </a:r>
          </a:p>
          <a:p>
            <a:pPr lvl="1"/>
            <a:r>
              <a:rPr lang="en-US" altLang="ja-JP"/>
              <a:t>Second level</a:t>
            </a:r>
          </a:p>
          <a:p>
            <a:pPr lvl="2"/>
            <a:r>
              <a:rPr lang="en-US" altLang="ja-JP"/>
              <a:t>Third level</a:t>
            </a:r>
          </a:p>
          <a:p>
            <a:pPr lvl="3"/>
            <a:r>
              <a:rPr lang="en-US" altLang="ja-JP"/>
              <a:t>Fourth level</a:t>
            </a:r>
          </a:p>
          <a:p>
            <a:pPr lvl="4"/>
            <a:r>
              <a:rPr lang="en-US" altLang="ja-JP"/>
              <a:t>Fifth level</a:t>
            </a:r>
            <a:endParaRPr lang="en-GB" dirty="0"/>
          </a:p>
        </p:txBody>
      </p:sp>
      <p:sp>
        <p:nvSpPr>
          <p:cNvPr id="5" name="Content Left"/>
          <p:cNvSpPr>
            <a:spLocks noGrp="1"/>
          </p:cNvSpPr>
          <p:nvPr>
            <p:ph idx="1"/>
          </p:nvPr>
        </p:nvSpPr>
        <p:spPr bwMode="gray">
          <a:xfrm>
            <a:off x="287455" y="1341114"/>
            <a:ext cx="5520000" cy="4828044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sz="1200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 sz="1200"/>
            </a:lvl6pPr>
            <a:lvl7pPr fontAlgn="base">
              <a:lnSpc>
                <a:spcPct val="100000"/>
              </a:lnSpc>
              <a:spcAft>
                <a:spcPts val="0"/>
              </a:spcAft>
              <a:defRPr sz="1200"/>
            </a:lvl7pPr>
            <a:lvl8pPr fontAlgn="base">
              <a:lnSpc>
                <a:spcPct val="100000"/>
              </a:lnSpc>
              <a:spcAft>
                <a:spcPts val="0"/>
              </a:spcAft>
              <a:defRPr sz="1200"/>
            </a:lvl8pPr>
            <a:lvl9pPr fontAlgn="base">
              <a:lnSpc>
                <a:spcPct val="100000"/>
              </a:lnSpc>
              <a:spcAft>
                <a:spcPts val="0"/>
              </a:spcAft>
              <a:defRPr sz="1200"/>
            </a:lvl9pPr>
          </a:lstStyle>
          <a:p>
            <a:pPr lvl="0"/>
            <a:r>
              <a:rPr lang="en-US" altLang="ja-JP"/>
              <a:t>Click to edit Master text styles</a:t>
            </a:r>
          </a:p>
          <a:p>
            <a:pPr lvl="1"/>
            <a:r>
              <a:rPr lang="en-US" altLang="ja-JP"/>
              <a:t>Second level</a:t>
            </a:r>
          </a:p>
          <a:p>
            <a:pPr lvl="2"/>
            <a:r>
              <a:rPr lang="en-US" altLang="ja-JP"/>
              <a:t>Third level</a:t>
            </a:r>
          </a:p>
          <a:p>
            <a:pPr lvl="3"/>
            <a:r>
              <a:rPr lang="en-US" altLang="ja-JP"/>
              <a:t>Fourth level</a:t>
            </a:r>
          </a:p>
          <a:p>
            <a:pPr lvl="4"/>
            <a:r>
              <a:rPr lang="en-US" altLang="ja-JP"/>
              <a:t>Fifth level</a:t>
            </a:r>
            <a:endParaRPr lang="en-GB" dirty="0"/>
          </a:p>
        </p:txBody>
      </p:sp>
      <p:sp>
        <p:nvSpPr>
          <p:cNvPr id="8" name="Title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gray">
          <a:xfrm>
            <a:off x="287453" y="1"/>
            <a:ext cx="11625600" cy="1011600"/>
          </a:xfrm>
          <a:prstGeom prst="rect">
            <a:avLst/>
          </a:prstGeom>
        </p:spPr>
        <p:txBody>
          <a:bodyPr anchor="b"/>
          <a:lstStyle/>
          <a:p>
            <a:pPr lvl="0"/>
            <a:r>
              <a:rPr lang="en-US" altLang="ja-JP"/>
              <a:t>Click to edit Master title style</a:t>
            </a:r>
            <a:endParaRPr lang="en-GB" dirty="0"/>
          </a:p>
        </p:txBody>
      </p:sp>
      <p:sp>
        <p:nvSpPr>
          <p:cNvPr id="9" name="Content"/>
          <p:cNvSpPr>
            <a:spLocks noGrp="1"/>
          </p:cNvSpPr>
          <p:nvPr>
            <p:ph idx="10" hasCustomPrompt="1"/>
          </p:nvPr>
        </p:nvSpPr>
        <p:spPr bwMode="gray">
          <a:xfrm>
            <a:off x="287453" y="6046048"/>
            <a:ext cx="11625600" cy="123111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en-US" sz="800" dirty="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/>
            </a:lvl6pPr>
            <a:lvl7pPr fontAlgn="base">
              <a:lnSpc>
                <a:spcPct val="100000"/>
              </a:lnSpc>
              <a:spcAft>
                <a:spcPts val="0"/>
              </a:spcAft>
              <a:defRPr/>
            </a:lvl7pPr>
            <a:lvl8pPr fontAlgn="base">
              <a:lnSpc>
                <a:spcPct val="100000"/>
              </a:lnSpc>
              <a:spcAft>
                <a:spcPts val="0"/>
              </a:spcAft>
              <a:defRPr/>
            </a:lvl8pPr>
            <a:lvl9pPr fontAlgn="base">
              <a:lnSpc>
                <a:spcPct val="100000"/>
              </a:lnSpc>
              <a:spcAft>
                <a:spcPts val="0"/>
              </a:spcAft>
              <a:defRPr/>
            </a:lvl9pPr>
          </a:lstStyle>
          <a:p>
            <a:pPr lvl="0"/>
            <a:r>
              <a:rPr lang="en-GB" dirty="0"/>
              <a:t>Source: </a:t>
            </a:r>
          </a:p>
        </p:txBody>
      </p:sp>
    </p:spTree>
    <p:extLst>
      <p:ext uri="{BB962C8B-B14F-4D97-AF65-F5344CB8AC3E}">
        <p14:creationId xmlns:p14="http://schemas.microsoft.com/office/powerpoint/2010/main" val="1875947199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with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Content Right"/>
          <p:cNvSpPr>
            <a:spLocks noGrp="1"/>
          </p:cNvSpPr>
          <p:nvPr>
            <p:ph idx="11"/>
          </p:nvPr>
        </p:nvSpPr>
        <p:spPr bwMode="gray">
          <a:xfrm>
            <a:off x="6393053" y="1882448"/>
            <a:ext cx="5520000" cy="4286711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sz="1200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 sz="1200"/>
            </a:lvl6pPr>
            <a:lvl7pPr fontAlgn="base">
              <a:lnSpc>
                <a:spcPct val="100000"/>
              </a:lnSpc>
              <a:spcAft>
                <a:spcPts val="0"/>
              </a:spcAft>
              <a:defRPr sz="1200"/>
            </a:lvl7pPr>
            <a:lvl8pPr fontAlgn="base">
              <a:lnSpc>
                <a:spcPct val="100000"/>
              </a:lnSpc>
              <a:spcAft>
                <a:spcPts val="0"/>
              </a:spcAft>
              <a:defRPr sz="1200"/>
            </a:lvl8pPr>
            <a:lvl9pPr fontAlgn="base">
              <a:lnSpc>
                <a:spcPct val="100000"/>
              </a:lnSpc>
              <a:spcAft>
                <a:spcPts val="0"/>
              </a:spcAft>
              <a:defRPr sz="1200"/>
            </a:lvl9pPr>
          </a:lstStyle>
          <a:p>
            <a:pPr lvl="0"/>
            <a:r>
              <a:rPr lang="en-US" altLang="ja-JP"/>
              <a:t>Click to edit Master text styles</a:t>
            </a:r>
          </a:p>
          <a:p>
            <a:pPr lvl="1"/>
            <a:r>
              <a:rPr lang="en-US" altLang="ja-JP"/>
              <a:t>Second level</a:t>
            </a:r>
          </a:p>
          <a:p>
            <a:pPr lvl="2"/>
            <a:r>
              <a:rPr lang="en-US" altLang="ja-JP"/>
              <a:t>Third level</a:t>
            </a:r>
          </a:p>
          <a:p>
            <a:pPr lvl="3"/>
            <a:r>
              <a:rPr lang="en-US" altLang="ja-JP"/>
              <a:t>Fourth level</a:t>
            </a:r>
          </a:p>
          <a:p>
            <a:pPr lvl="4"/>
            <a:r>
              <a:rPr lang="en-US" altLang="ja-JP"/>
              <a:t>Fifth level</a:t>
            </a:r>
            <a:endParaRPr lang="en-GB" dirty="0"/>
          </a:p>
        </p:txBody>
      </p:sp>
      <p:sp>
        <p:nvSpPr>
          <p:cNvPr id="15" name="Content Left"/>
          <p:cNvSpPr>
            <a:spLocks noGrp="1"/>
          </p:cNvSpPr>
          <p:nvPr>
            <p:ph idx="1"/>
          </p:nvPr>
        </p:nvSpPr>
        <p:spPr bwMode="gray">
          <a:xfrm>
            <a:off x="287451" y="1882448"/>
            <a:ext cx="5520000" cy="4286711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fontAlgn="base">
              <a:lnSpc>
                <a:spcPct val="100000"/>
              </a:lnSpc>
              <a:spcAft>
                <a:spcPts val="0"/>
              </a:spcAft>
              <a:defRPr lang="en-US" sz="120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sz="120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sz="120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sz="120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sz="1200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 sz="1200"/>
            </a:lvl6pPr>
            <a:lvl7pPr fontAlgn="base">
              <a:lnSpc>
                <a:spcPct val="100000"/>
              </a:lnSpc>
              <a:spcAft>
                <a:spcPts val="0"/>
              </a:spcAft>
              <a:defRPr sz="1200"/>
            </a:lvl7pPr>
            <a:lvl8pPr fontAlgn="base">
              <a:lnSpc>
                <a:spcPct val="100000"/>
              </a:lnSpc>
              <a:spcAft>
                <a:spcPts val="0"/>
              </a:spcAft>
              <a:defRPr sz="1200"/>
            </a:lvl8pPr>
            <a:lvl9pPr fontAlgn="base">
              <a:lnSpc>
                <a:spcPct val="100000"/>
              </a:lnSpc>
              <a:spcAft>
                <a:spcPts val="0"/>
              </a:spcAft>
              <a:defRPr sz="1200"/>
            </a:lvl9pPr>
          </a:lstStyle>
          <a:p>
            <a:pPr lvl="0"/>
            <a:r>
              <a:rPr lang="en-US" altLang="ja-JP"/>
              <a:t>Click to edit Master text styles</a:t>
            </a:r>
          </a:p>
          <a:p>
            <a:pPr lvl="1"/>
            <a:r>
              <a:rPr lang="en-US" altLang="ja-JP"/>
              <a:t>Second level</a:t>
            </a:r>
          </a:p>
          <a:p>
            <a:pPr lvl="2"/>
            <a:r>
              <a:rPr lang="en-US" altLang="ja-JP"/>
              <a:t>Third level</a:t>
            </a:r>
          </a:p>
          <a:p>
            <a:pPr lvl="3"/>
            <a:r>
              <a:rPr lang="en-US" altLang="ja-JP"/>
              <a:t>Fourth level</a:t>
            </a:r>
          </a:p>
          <a:p>
            <a:pPr lvl="4"/>
            <a:r>
              <a:rPr lang="en-US" altLang="ja-JP"/>
              <a:t>Fifth level</a:t>
            </a:r>
            <a:endParaRPr lang="en-GB" dirty="0"/>
          </a:p>
        </p:txBody>
      </p:sp>
      <p:sp>
        <p:nvSpPr>
          <p:cNvPr id="14" name="Heading Right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6393053" y="1341114"/>
            <a:ext cx="5520000" cy="369332"/>
          </a:xfrm>
        </p:spPr>
        <p:txBody>
          <a:bodyPr wrap="square" lIns="0" tIns="0" rIns="0" bIns="0"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200" b="1">
                <a:solidFill>
                  <a:schemeClr val="accent1"/>
                </a:solidFill>
                <a:latin typeface="+mn-lt"/>
                <a:sym typeface="+mn-lt"/>
              </a:defRPr>
            </a:lvl1pPr>
            <a:lvl2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200">
                <a:solidFill>
                  <a:schemeClr val="accent1"/>
                </a:solidFill>
                <a:latin typeface="+mn-lt"/>
                <a:sym typeface="+mn-lt"/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Heading 12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2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13" name="Heading Left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287455" y="1341114"/>
            <a:ext cx="5520000" cy="369332"/>
          </a:xfrm>
        </p:spPr>
        <p:txBody>
          <a:bodyPr wrap="square" lIns="0" tIns="0" rIns="0" bIns="0"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200" b="1">
                <a:solidFill>
                  <a:schemeClr val="accent1"/>
                </a:solidFill>
                <a:latin typeface="+mn-lt"/>
                <a:sym typeface="+mn-lt"/>
              </a:defRPr>
            </a:lvl1pPr>
            <a:lvl2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200">
                <a:solidFill>
                  <a:schemeClr val="accent1"/>
                </a:solidFill>
                <a:latin typeface="+mn-lt"/>
                <a:sym typeface="+mn-lt"/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Heading 12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2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8" name="Title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gray">
          <a:xfrm>
            <a:off x="287453" y="1"/>
            <a:ext cx="11625600" cy="1011600"/>
          </a:xfrm>
          <a:prstGeom prst="rect">
            <a:avLst/>
          </a:prstGeom>
        </p:spPr>
        <p:txBody>
          <a:bodyPr anchor="b"/>
          <a:lstStyle/>
          <a:p>
            <a:pPr lvl="0"/>
            <a:r>
              <a:rPr lang="en-US" altLang="ja-JP"/>
              <a:t>Click to edit Master title style</a:t>
            </a:r>
            <a:endParaRPr lang="en-GB" dirty="0"/>
          </a:p>
        </p:txBody>
      </p:sp>
      <p:sp>
        <p:nvSpPr>
          <p:cNvPr id="9" name="Content"/>
          <p:cNvSpPr>
            <a:spLocks noGrp="1"/>
          </p:cNvSpPr>
          <p:nvPr>
            <p:ph idx="10" hasCustomPrompt="1"/>
          </p:nvPr>
        </p:nvSpPr>
        <p:spPr bwMode="gray">
          <a:xfrm>
            <a:off x="287453" y="6046048"/>
            <a:ext cx="11625600" cy="123111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en-US" sz="800" dirty="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/>
            </a:lvl6pPr>
            <a:lvl7pPr fontAlgn="base">
              <a:lnSpc>
                <a:spcPct val="100000"/>
              </a:lnSpc>
              <a:spcAft>
                <a:spcPts val="0"/>
              </a:spcAft>
              <a:defRPr/>
            </a:lvl7pPr>
            <a:lvl8pPr fontAlgn="base">
              <a:lnSpc>
                <a:spcPct val="100000"/>
              </a:lnSpc>
              <a:spcAft>
                <a:spcPts val="0"/>
              </a:spcAft>
              <a:defRPr/>
            </a:lvl8pPr>
            <a:lvl9pPr fontAlgn="base">
              <a:lnSpc>
                <a:spcPct val="100000"/>
              </a:lnSpc>
              <a:spcAft>
                <a:spcPts val="0"/>
              </a:spcAft>
              <a:defRPr/>
            </a:lvl9pPr>
          </a:lstStyle>
          <a:p>
            <a:pPr lvl="0"/>
            <a:r>
              <a:rPr lang="en-GB" dirty="0"/>
              <a:t>Source: </a:t>
            </a:r>
          </a:p>
        </p:txBody>
      </p:sp>
    </p:spTree>
    <p:extLst>
      <p:ext uri="{BB962C8B-B14F-4D97-AF65-F5344CB8AC3E}">
        <p14:creationId xmlns:p14="http://schemas.microsoft.com/office/powerpoint/2010/main" val="1339264130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text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Right Bottom"/>
          <p:cNvSpPr>
            <a:spLocks noGrp="1"/>
          </p:cNvSpPr>
          <p:nvPr>
            <p:ph idx="27"/>
          </p:nvPr>
        </p:nvSpPr>
        <p:spPr bwMode="gray">
          <a:xfrm>
            <a:off x="6393053" y="3842316"/>
            <a:ext cx="5520000" cy="2326843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US" altLang="ja-JP" sz="1000" smtClean="0">
                <a:latin typeface="+mn-lt"/>
                <a:ea typeface="+mn-ea"/>
                <a:sym typeface="+mn-lt"/>
              </a:defRPr>
            </a:lvl1pPr>
            <a:lvl2pPr>
              <a:defRPr lang="en-US" altLang="ja-JP" sz="1000" smtClean="0">
                <a:latin typeface="+mn-lt"/>
                <a:ea typeface="+mn-ea"/>
                <a:sym typeface="+mn-lt"/>
              </a:defRPr>
            </a:lvl2pPr>
            <a:lvl3pPr>
              <a:defRPr lang="en-US" altLang="ja-JP" sz="1000" smtClean="0">
                <a:latin typeface="+mn-lt"/>
                <a:ea typeface="+mn-ea"/>
                <a:sym typeface="+mn-lt"/>
              </a:defRPr>
            </a:lvl3pPr>
            <a:lvl4pPr>
              <a:defRPr lang="en-US" altLang="ja-JP" sz="1000" smtClean="0">
                <a:latin typeface="+mn-lt"/>
                <a:ea typeface="+mn-ea"/>
                <a:sym typeface="+mn-lt"/>
              </a:defRPr>
            </a:lvl4pPr>
            <a:lvl5pPr>
              <a:defRPr lang="en-GB" sz="1000" dirty="0" smtClean="0">
                <a:latin typeface="+mn-lt"/>
                <a:ea typeface="+mn-ea"/>
                <a:sym typeface="+mn-lt"/>
              </a:defRPr>
            </a:lvl5pPr>
          </a:lstStyle>
          <a:p>
            <a:pPr lvl="0">
              <a:lnSpc>
                <a:spcPct val="100000"/>
              </a:lnSpc>
            </a:pPr>
            <a:r>
              <a:rPr lang="en-US" altLang="ja-JP"/>
              <a:t>Click to edit Master text styles</a:t>
            </a:r>
          </a:p>
          <a:p>
            <a:pPr lvl="1">
              <a:lnSpc>
                <a:spcPct val="100000"/>
              </a:lnSpc>
            </a:pPr>
            <a:r>
              <a:rPr lang="en-US" altLang="ja-JP"/>
              <a:t>Second level</a:t>
            </a:r>
          </a:p>
          <a:p>
            <a:pPr lvl="2">
              <a:lnSpc>
                <a:spcPct val="100000"/>
              </a:lnSpc>
            </a:pPr>
            <a:r>
              <a:rPr lang="en-US" altLang="ja-JP"/>
              <a:t>Third level</a:t>
            </a:r>
          </a:p>
          <a:p>
            <a:pPr lvl="3">
              <a:lnSpc>
                <a:spcPct val="100000"/>
              </a:lnSpc>
            </a:pPr>
            <a:r>
              <a:rPr lang="en-US" altLang="ja-JP"/>
              <a:t>Fourth level</a:t>
            </a:r>
          </a:p>
          <a:p>
            <a:pPr lvl="4">
              <a:lnSpc>
                <a:spcPct val="100000"/>
              </a:lnSpc>
            </a:pPr>
            <a:r>
              <a:rPr lang="en-US" altLang="ja-JP"/>
              <a:t>Fifth level</a:t>
            </a:r>
            <a:endParaRPr lang="en-GB" dirty="0"/>
          </a:p>
        </p:txBody>
      </p:sp>
      <p:sp>
        <p:nvSpPr>
          <p:cNvPr id="4" name="Content Left Bottom"/>
          <p:cNvSpPr>
            <a:spLocks noGrp="1"/>
          </p:cNvSpPr>
          <p:nvPr>
            <p:ph idx="28"/>
          </p:nvPr>
        </p:nvSpPr>
        <p:spPr bwMode="gray">
          <a:xfrm>
            <a:off x="287455" y="3842316"/>
            <a:ext cx="5520000" cy="2326843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US" altLang="ja-JP" sz="1000" smtClean="0">
                <a:latin typeface="+mn-lt"/>
                <a:ea typeface="+mn-ea"/>
                <a:sym typeface="+mn-lt"/>
              </a:defRPr>
            </a:lvl1pPr>
            <a:lvl2pPr>
              <a:defRPr lang="en-US" altLang="ja-JP" sz="1000" smtClean="0">
                <a:latin typeface="+mn-lt"/>
                <a:ea typeface="+mn-ea"/>
                <a:sym typeface="+mn-lt"/>
              </a:defRPr>
            </a:lvl2pPr>
            <a:lvl3pPr>
              <a:defRPr lang="en-US" altLang="ja-JP" sz="1000" smtClean="0">
                <a:latin typeface="+mn-lt"/>
                <a:ea typeface="+mn-ea"/>
                <a:sym typeface="+mn-lt"/>
              </a:defRPr>
            </a:lvl3pPr>
            <a:lvl4pPr>
              <a:defRPr lang="en-US" altLang="ja-JP" sz="1000" smtClean="0">
                <a:latin typeface="+mn-lt"/>
                <a:ea typeface="+mn-ea"/>
                <a:sym typeface="+mn-lt"/>
              </a:defRPr>
            </a:lvl4pPr>
            <a:lvl5pPr>
              <a:defRPr lang="en-GB" sz="1000" dirty="0" smtClean="0">
                <a:latin typeface="+mn-lt"/>
                <a:ea typeface="+mn-ea"/>
                <a:sym typeface="+mn-lt"/>
              </a:defRPr>
            </a:lvl5pPr>
          </a:lstStyle>
          <a:p>
            <a:pPr lvl="0">
              <a:lnSpc>
                <a:spcPct val="100000"/>
              </a:lnSpc>
            </a:pPr>
            <a:r>
              <a:rPr lang="en-US" altLang="ja-JP"/>
              <a:t>Click to edit Master text styles</a:t>
            </a:r>
          </a:p>
          <a:p>
            <a:pPr lvl="1">
              <a:lnSpc>
                <a:spcPct val="100000"/>
              </a:lnSpc>
            </a:pPr>
            <a:r>
              <a:rPr lang="en-US" altLang="ja-JP"/>
              <a:t>Second level</a:t>
            </a:r>
          </a:p>
          <a:p>
            <a:pPr lvl="2">
              <a:lnSpc>
                <a:spcPct val="100000"/>
              </a:lnSpc>
            </a:pPr>
            <a:r>
              <a:rPr lang="en-US" altLang="ja-JP"/>
              <a:t>Third level</a:t>
            </a:r>
          </a:p>
          <a:p>
            <a:pPr lvl="3">
              <a:lnSpc>
                <a:spcPct val="100000"/>
              </a:lnSpc>
            </a:pPr>
            <a:r>
              <a:rPr lang="en-US" altLang="ja-JP"/>
              <a:t>Fourth level</a:t>
            </a:r>
          </a:p>
          <a:p>
            <a:pPr lvl="4">
              <a:lnSpc>
                <a:spcPct val="100000"/>
              </a:lnSpc>
            </a:pPr>
            <a:r>
              <a:rPr lang="en-US" altLang="ja-JP"/>
              <a:t>Fifth level</a:t>
            </a:r>
            <a:endParaRPr lang="en-GB" dirty="0"/>
          </a:p>
        </p:txBody>
      </p:sp>
      <p:sp>
        <p:nvSpPr>
          <p:cNvPr id="8" name="Content Right Top"/>
          <p:cNvSpPr>
            <a:spLocks noGrp="1"/>
          </p:cNvSpPr>
          <p:nvPr>
            <p:ph idx="26"/>
          </p:nvPr>
        </p:nvSpPr>
        <p:spPr bwMode="gray">
          <a:xfrm>
            <a:off x="6393053" y="1341114"/>
            <a:ext cx="5520000" cy="2325600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US" altLang="ja-JP" sz="1000" smtClean="0">
                <a:latin typeface="+mn-lt"/>
                <a:ea typeface="+mn-ea"/>
                <a:sym typeface="+mn-lt"/>
              </a:defRPr>
            </a:lvl1pPr>
            <a:lvl2pPr>
              <a:defRPr lang="en-US" altLang="ja-JP" sz="1000" smtClean="0">
                <a:latin typeface="+mn-lt"/>
                <a:ea typeface="+mn-ea"/>
                <a:sym typeface="+mn-lt"/>
              </a:defRPr>
            </a:lvl2pPr>
            <a:lvl3pPr>
              <a:defRPr lang="en-US" altLang="ja-JP" sz="1000" smtClean="0">
                <a:latin typeface="+mn-lt"/>
                <a:ea typeface="+mn-ea"/>
                <a:sym typeface="+mn-lt"/>
              </a:defRPr>
            </a:lvl3pPr>
            <a:lvl4pPr>
              <a:defRPr lang="en-US" altLang="ja-JP" sz="1000" smtClean="0">
                <a:latin typeface="+mn-lt"/>
                <a:ea typeface="+mn-ea"/>
                <a:sym typeface="+mn-lt"/>
              </a:defRPr>
            </a:lvl4pPr>
            <a:lvl5pPr>
              <a:defRPr lang="en-GB" sz="1000" dirty="0" smtClean="0">
                <a:latin typeface="+mn-lt"/>
                <a:ea typeface="+mn-ea"/>
                <a:sym typeface="+mn-lt"/>
              </a:defRPr>
            </a:lvl5pPr>
          </a:lstStyle>
          <a:p>
            <a:pPr lvl="0">
              <a:lnSpc>
                <a:spcPct val="100000"/>
              </a:lnSpc>
            </a:pPr>
            <a:r>
              <a:rPr lang="en-US" altLang="ja-JP"/>
              <a:t>Click to edit Master text styles</a:t>
            </a:r>
          </a:p>
          <a:p>
            <a:pPr lvl="1">
              <a:lnSpc>
                <a:spcPct val="100000"/>
              </a:lnSpc>
            </a:pPr>
            <a:r>
              <a:rPr lang="en-US" altLang="ja-JP"/>
              <a:t>Second level</a:t>
            </a:r>
          </a:p>
          <a:p>
            <a:pPr lvl="2">
              <a:lnSpc>
                <a:spcPct val="100000"/>
              </a:lnSpc>
            </a:pPr>
            <a:r>
              <a:rPr lang="en-US" altLang="ja-JP"/>
              <a:t>Third level</a:t>
            </a:r>
          </a:p>
          <a:p>
            <a:pPr lvl="3">
              <a:lnSpc>
                <a:spcPct val="100000"/>
              </a:lnSpc>
            </a:pPr>
            <a:r>
              <a:rPr lang="en-US" altLang="ja-JP"/>
              <a:t>Fourth level</a:t>
            </a:r>
          </a:p>
          <a:p>
            <a:pPr lvl="4">
              <a:lnSpc>
                <a:spcPct val="100000"/>
              </a:lnSpc>
            </a:pPr>
            <a:r>
              <a:rPr lang="en-US" altLang="ja-JP"/>
              <a:t>Fifth level</a:t>
            </a:r>
            <a:endParaRPr lang="en-GB" dirty="0"/>
          </a:p>
        </p:txBody>
      </p:sp>
      <p:sp>
        <p:nvSpPr>
          <p:cNvPr id="9" name="Content Left Top"/>
          <p:cNvSpPr>
            <a:spLocks noGrp="1"/>
          </p:cNvSpPr>
          <p:nvPr>
            <p:ph idx="1"/>
          </p:nvPr>
        </p:nvSpPr>
        <p:spPr bwMode="gray">
          <a:xfrm>
            <a:off x="287455" y="1341114"/>
            <a:ext cx="5520000" cy="2325600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US" altLang="ja-JP" sz="1000" smtClean="0">
                <a:latin typeface="+mn-lt"/>
                <a:ea typeface="+mn-ea"/>
                <a:sym typeface="+mn-lt"/>
              </a:defRPr>
            </a:lvl1pPr>
            <a:lvl2pPr>
              <a:defRPr lang="en-US" altLang="ja-JP" sz="1000" smtClean="0">
                <a:latin typeface="+mn-lt"/>
                <a:ea typeface="+mn-ea"/>
                <a:sym typeface="+mn-lt"/>
              </a:defRPr>
            </a:lvl2pPr>
            <a:lvl3pPr>
              <a:defRPr lang="en-US" altLang="ja-JP" sz="1000" smtClean="0">
                <a:latin typeface="+mn-lt"/>
                <a:ea typeface="+mn-ea"/>
                <a:sym typeface="+mn-lt"/>
              </a:defRPr>
            </a:lvl3pPr>
            <a:lvl4pPr>
              <a:defRPr lang="en-US" altLang="ja-JP" sz="1000" smtClean="0">
                <a:latin typeface="+mn-lt"/>
                <a:ea typeface="+mn-ea"/>
                <a:sym typeface="+mn-lt"/>
              </a:defRPr>
            </a:lvl4pPr>
            <a:lvl5pPr>
              <a:defRPr lang="en-GB" sz="1000" dirty="0" smtClean="0">
                <a:latin typeface="+mn-lt"/>
                <a:ea typeface="+mn-ea"/>
                <a:sym typeface="+mn-lt"/>
              </a:defRPr>
            </a:lvl5pPr>
          </a:lstStyle>
          <a:p>
            <a:pPr lvl="0">
              <a:lnSpc>
                <a:spcPct val="100000"/>
              </a:lnSpc>
            </a:pPr>
            <a:r>
              <a:rPr lang="en-US" altLang="ja-JP"/>
              <a:t>Click to edit Master text styles</a:t>
            </a:r>
          </a:p>
          <a:p>
            <a:pPr lvl="1">
              <a:lnSpc>
                <a:spcPct val="100000"/>
              </a:lnSpc>
            </a:pPr>
            <a:r>
              <a:rPr lang="en-US" altLang="ja-JP"/>
              <a:t>Second level</a:t>
            </a:r>
          </a:p>
          <a:p>
            <a:pPr lvl="2">
              <a:lnSpc>
                <a:spcPct val="100000"/>
              </a:lnSpc>
            </a:pPr>
            <a:r>
              <a:rPr lang="en-US" altLang="ja-JP"/>
              <a:t>Third level</a:t>
            </a:r>
          </a:p>
          <a:p>
            <a:pPr lvl="3">
              <a:lnSpc>
                <a:spcPct val="100000"/>
              </a:lnSpc>
            </a:pPr>
            <a:r>
              <a:rPr lang="en-US" altLang="ja-JP"/>
              <a:t>Fourth level</a:t>
            </a:r>
          </a:p>
          <a:p>
            <a:pPr lvl="4">
              <a:lnSpc>
                <a:spcPct val="100000"/>
              </a:lnSpc>
            </a:pPr>
            <a:r>
              <a:rPr lang="en-US" altLang="ja-JP"/>
              <a:t>Fifth level</a:t>
            </a:r>
            <a:endParaRPr lang="en-GB" dirty="0"/>
          </a:p>
        </p:txBody>
      </p:sp>
      <p:sp>
        <p:nvSpPr>
          <p:cNvPr id="10" name="Title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gray">
          <a:xfrm>
            <a:off x="287453" y="1"/>
            <a:ext cx="11625600" cy="1011600"/>
          </a:xfrm>
          <a:prstGeom prst="rect">
            <a:avLst/>
          </a:prstGeom>
        </p:spPr>
        <p:txBody>
          <a:bodyPr anchor="b"/>
          <a:lstStyle/>
          <a:p>
            <a:pPr lvl="0"/>
            <a:r>
              <a:rPr lang="en-US" altLang="ja-JP"/>
              <a:t>Click to edit Master title style</a:t>
            </a:r>
            <a:endParaRPr lang="en-GB" dirty="0"/>
          </a:p>
        </p:txBody>
      </p:sp>
      <p:sp>
        <p:nvSpPr>
          <p:cNvPr id="11" name="Content"/>
          <p:cNvSpPr>
            <a:spLocks noGrp="1"/>
          </p:cNvSpPr>
          <p:nvPr>
            <p:ph idx="10" hasCustomPrompt="1"/>
          </p:nvPr>
        </p:nvSpPr>
        <p:spPr bwMode="gray">
          <a:xfrm>
            <a:off x="287453" y="6046048"/>
            <a:ext cx="11625600" cy="123111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en-US" sz="800" dirty="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/>
            </a:lvl6pPr>
            <a:lvl7pPr fontAlgn="base">
              <a:lnSpc>
                <a:spcPct val="100000"/>
              </a:lnSpc>
              <a:spcAft>
                <a:spcPts val="0"/>
              </a:spcAft>
              <a:defRPr/>
            </a:lvl7pPr>
            <a:lvl8pPr fontAlgn="base">
              <a:lnSpc>
                <a:spcPct val="100000"/>
              </a:lnSpc>
              <a:spcAft>
                <a:spcPts val="0"/>
              </a:spcAft>
              <a:defRPr/>
            </a:lvl8pPr>
            <a:lvl9pPr fontAlgn="base">
              <a:lnSpc>
                <a:spcPct val="100000"/>
              </a:lnSpc>
              <a:spcAft>
                <a:spcPts val="0"/>
              </a:spcAft>
              <a:defRPr/>
            </a:lvl9pPr>
          </a:lstStyle>
          <a:p>
            <a:pPr lvl="0"/>
            <a:r>
              <a:rPr lang="en-GB" dirty="0"/>
              <a:t>Source: </a:t>
            </a:r>
          </a:p>
        </p:txBody>
      </p:sp>
    </p:spTree>
    <p:extLst>
      <p:ext uri="{BB962C8B-B14F-4D97-AF65-F5344CB8AC3E}">
        <p14:creationId xmlns:p14="http://schemas.microsoft.com/office/powerpoint/2010/main" val="381839319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_Green 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Palatino Linotype" pitchFamily="18" charset="0"/>
            </a:endParaRPr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304802" y="6250077"/>
            <a:ext cx="11592985" cy="0"/>
          </a:xfrm>
          <a:prstGeom prst="line">
            <a:avLst/>
          </a:prstGeom>
          <a:ln w="9525">
            <a:solidFill>
              <a:srgbClr val="555759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Text Placeholder 18"/>
          <p:cNvSpPr txBox="1">
            <a:spLocks/>
          </p:cNvSpPr>
          <p:nvPr userDrawn="1"/>
        </p:nvSpPr>
        <p:spPr>
          <a:xfrm>
            <a:off x="182020" y="6365442"/>
            <a:ext cx="478315" cy="231169"/>
          </a:xfrm>
          <a:prstGeom prst="rect">
            <a:avLst/>
          </a:prstGeom>
        </p:spPr>
        <p:txBody>
          <a:bodyPr vert="horz"/>
          <a:lstStyle>
            <a:lvl1pPr marL="0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 baseline="0">
                <a:solidFill>
                  <a:srgbClr val="898C8F"/>
                </a:solidFill>
                <a:latin typeface="+mj-lt"/>
                <a:ea typeface="+mn-ea"/>
                <a:cs typeface="+mn-cs"/>
              </a:defRPr>
            </a:lvl1pPr>
            <a:lvl2pPr marL="457178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2pPr>
            <a:lvl3pPr marL="914354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3pPr>
            <a:lvl4pPr marL="1371532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4pPr>
            <a:lvl5pPr marL="1828709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5pPr>
            <a:lvl6pPr marL="21748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6pPr>
            <a:lvl7pPr marL="26320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7pPr>
            <a:lvl8pPr marL="30892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8pPr>
            <a:lvl9pPr marL="35464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l"/>
            <a:fld id="{C0D4A90D-707C-4CFA-8F87-17CF45DE2B45}" type="slidenum">
              <a:rPr lang="en-US" sz="900" smtClean="0">
                <a:solidFill>
                  <a:srgbClr val="95D600"/>
                </a:solidFill>
              </a:rPr>
              <a:pPr algn="l"/>
              <a:t>‹#›</a:t>
            </a:fld>
            <a:endParaRPr lang="en-US" sz="900" dirty="0"/>
          </a:p>
        </p:txBody>
      </p:sp>
      <p:cxnSp>
        <p:nvCxnSpPr>
          <p:cNvPr id="7" name="Straight Connector 6"/>
          <p:cNvCxnSpPr/>
          <p:nvPr userDrawn="1"/>
        </p:nvCxnSpPr>
        <p:spPr bwMode="auto">
          <a:xfrm flipH="1">
            <a:off x="0" y="6302465"/>
            <a:ext cx="12192000" cy="0"/>
          </a:xfrm>
          <a:prstGeom prst="line">
            <a:avLst/>
          </a:prstGeom>
          <a:solidFill>
            <a:schemeClr val="accent1"/>
          </a:solidFill>
          <a:ln w="19050" cap="flat" cmpd="dbl" algn="ctr">
            <a:noFill/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0" name="Rectangle 9"/>
          <p:cNvSpPr/>
          <p:nvPr userDrawn="1"/>
        </p:nvSpPr>
        <p:spPr bwMode="auto">
          <a:xfrm>
            <a:off x="0" y="0"/>
            <a:ext cx="12192000" cy="1074396"/>
          </a:xfrm>
          <a:prstGeom prst="rect">
            <a:avLst/>
          </a:prstGeom>
          <a:gradFill>
            <a:gsLst>
              <a:gs pos="0">
                <a:schemeClr val="accent2"/>
              </a:gs>
              <a:gs pos="100000">
                <a:srgbClr val="648C1A"/>
              </a:gs>
            </a:gsLst>
            <a:lin ang="10800000" scaled="0"/>
          </a:gra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Palatino Linotype" pitchFamily="18" charset="0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287453" y="1"/>
            <a:ext cx="11623035" cy="1011420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Text Placeholder 18"/>
          <p:cNvSpPr txBox="1">
            <a:spLocks/>
          </p:cNvSpPr>
          <p:nvPr userDrawn="1"/>
        </p:nvSpPr>
        <p:spPr>
          <a:xfrm>
            <a:off x="412682" y="6370117"/>
            <a:ext cx="7770501" cy="205345"/>
          </a:xfrm>
          <a:prstGeom prst="rect">
            <a:avLst/>
          </a:prstGeom>
        </p:spPr>
        <p:txBody>
          <a:bodyPr vert="horz"/>
          <a:lstStyle>
            <a:lvl1pPr marL="0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 baseline="0">
                <a:solidFill>
                  <a:srgbClr val="898C8F"/>
                </a:solidFill>
                <a:latin typeface="+mj-lt"/>
                <a:ea typeface="+mn-ea"/>
                <a:cs typeface="+mn-cs"/>
              </a:defRPr>
            </a:lvl1pPr>
            <a:lvl2pPr marL="457178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2pPr>
            <a:lvl3pPr marL="914354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3pPr>
            <a:lvl4pPr marL="1371532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4pPr>
            <a:lvl5pPr marL="1828709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5pPr>
            <a:lvl6pPr marL="21748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6pPr>
            <a:lvl7pPr marL="26320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7pPr>
            <a:lvl8pPr marL="30892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8pPr>
            <a:lvl9pPr marL="35464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 sz="900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/ </a:t>
            </a:r>
            <a:r>
              <a:rPr lang="en-US" sz="900" kern="1200" cap="all" normalizeH="0" baseline="0" dirty="0">
                <a:solidFill>
                  <a:schemeClr val="accent1">
                    <a:lumMod val="60000"/>
                    <a:lumOff val="40000"/>
                  </a:schemeClr>
                </a:solidFill>
                <a:latin typeface="+mj-lt"/>
                <a:ea typeface="+mn-ea"/>
                <a:cs typeface="+mn-cs"/>
              </a:rPr>
              <a:t>©ECOFYS, A Navigant – A </a:t>
            </a:r>
            <a:r>
              <a:rPr lang="en-US" sz="900" kern="1200" cap="all" normalizeH="0" baseline="0" dirty="0" err="1">
                <a:solidFill>
                  <a:schemeClr val="accent1">
                    <a:lumMod val="60000"/>
                    <a:lumOff val="40000"/>
                  </a:schemeClr>
                </a:solidFill>
                <a:latin typeface="+mj-lt"/>
                <a:ea typeface="+mn-ea"/>
                <a:cs typeface="+mn-cs"/>
              </a:rPr>
              <a:t>Guidehouse</a:t>
            </a:r>
            <a:r>
              <a:rPr lang="en-US" sz="900" kern="1200" cap="all" normalizeH="0" baseline="0" dirty="0">
                <a:solidFill>
                  <a:schemeClr val="accent1">
                    <a:lumMod val="60000"/>
                    <a:lumOff val="40000"/>
                  </a:schemeClr>
                </a:solidFill>
                <a:latin typeface="+mj-lt"/>
                <a:ea typeface="+mn-ea"/>
                <a:cs typeface="+mn-cs"/>
              </a:rPr>
              <a:t> Company Company</a:t>
            </a:r>
            <a:r>
              <a:rPr lang="en-US" sz="900" baseline="0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. All rights Reserved</a:t>
            </a:r>
            <a:endParaRPr lang="en-US" sz="900" dirty="0">
              <a:solidFill>
                <a:schemeClr val="accent1">
                  <a:lumMod val="60000"/>
                  <a:lumOff val="40000"/>
                </a:schemeClr>
              </a:solidFill>
            </a:endParaRPr>
          </a:p>
        </p:txBody>
      </p:sp>
      <p:pic>
        <p:nvPicPr>
          <p:cNvPr id="13" name="Picture 13" descr="Mission_Statement_RGB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71520" y="6418194"/>
            <a:ext cx="2726267" cy="123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" name="Picture 8" descr="Blatt_2"/>
          <p:cNvPicPr>
            <a:picLocks noChangeAspect="1" noChangeArrowheads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589" b="1042"/>
          <a:stretch/>
        </p:blipFill>
        <p:spPr bwMode="auto">
          <a:xfrm>
            <a:off x="-10584" y="1011421"/>
            <a:ext cx="12202584" cy="53540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800482313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textboxes with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Right Top"/>
          <p:cNvSpPr>
            <a:spLocks noGrp="1"/>
          </p:cNvSpPr>
          <p:nvPr>
            <p:ph idx="29"/>
          </p:nvPr>
        </p:nvSpPr>
        <p:spPr bwMode="gray">
          <a:xfrm>
            <a:off x="6393053" y="1814188"/>
            <a:ext cx="5520000" cy="1852526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US" altLang="ja-JP" sz="1000" smtClean="0">
                <a:latin typeface="+mn-lt"/>
                <a:ea typeface="+mn-ea"/>
                <a:sym typeface="+mn-lt"/>
              </a:defRPr>
            </a:lvl1pPr>
            <a:lvl2pPr>
              <a:defRPr lang="en-US" altLang="ja-JP" sz="1000" smtClean="0">
                <a:latin typeface="+mn-lt"/>
                <a:ea typeface="+mn-ea"/>
                <a:sym typeface="+mn-lt"/>
              </a:defRPr>
            </a:lvl2pPr>
            <a:lvl3pPr>
              <a:defRPr lang="en-US" altLang="ja-JP" sz="1000" smtClean="0">
                <a:latin typeface="+mn-lt"/>
                <a:ea typeface="+mn-ea"/>
                <a:sym typeface="+mn-lt"/>
              </a:defRPr>
            </a:lvl3pPr>
            <a:lvl4pPr>
              <a:defRPr lang="en-US" altLang="ja-JP" sz="1000" smtClean="0">
                <a:latin typeface="+mn-lt"/>
                <a:ea typeface="+mn-ea"/>
                <a:sym typeface="+mn-lt"/>
              </a:defRPr>
            </a:lvl4pPr>
            <a:lvl5pPr>
              <a:defRPr lang="en-GB" sz="1000" dirty="0" smtClean="0">
                <a:latin typeface="+mn-lt"/>
                <a:ea typeface="+mn-ea"/>
                <a:sym typeface="+mn-lt"/>
              </a:defRPr>
            </a:lvl5pPr>
          </a:lstStyle>
          <a:p>
            <a:pPr lvl="0">
              <a:lnSpc>
                <a:spcPct val="100000"/>
              </a:lnSpc>
            </a:pPr>
            <a:r>
              <a:rPr lang="en-US" altLang="ja-JP"/>
              <a:t>Click to edit Master text styles</a:t>
            </a:r>
          </a:p>
          <a:p>
            <a:pPr lvl="1">
              <a:lnSpc>
                <a:spcPct val="100000"/>
              </a:lnSpc>
            </a:pPr>
            <a:r>
              <a:rPr lang="en-US" altLang="ja-JP"/>
              <a:t>Second level</a:t>
            </a:r>
          </a:p>
          <a:p>
            <a:pPr lvl="2">
              <a:lnSpc>
                <a:spcPct val="100000"/>
              </a:lnSpc>
            </a:pPr>
            <a:r>
              <a:rPr lang="en-US" altLang="ja-JP"/>
              <a:t>Third level</a:t>
            </a:r>
          </a:p>
          <a:p>
            <a:pPr lvl="3">
              <a:lnSpc>
                <a:spcPct val="100000"/>
              </a:lnSpc>
            </a:pPr>
            <a:r>
              <a:rPr lang="en-US" altLang="ja-JP"/>
              <a:t>Fourth level</a:t>
            </a:r>
          </a:p>
          <a:p>
            <a:pPr lvl="4">
              <a:lnSpc>
                <a:spcPct val="100000"/>
              </a:lnSpc>
            </a:pPr>
            <a:r>
              <a:rPr lang="en-US" altLang="ja-JP"/>
              <a:t>Fifth level</a:t>
            </a:r>
            <a:endParaRPr lang="en-GB" dirty="0"/>
          </a:p>
        </p:txBody>
      </p:sp>
      <p:sp>
        <p:nvSpPr>
          <p:cNvPr id="9" name="Content Left Top"/>
          <p:cNvSpPr>
            <a:spLocks noGrp="1"/>
          </p:cNvSpPr>
          <p:nvPr>
            <p:ph idx="1"/>
          </p:nvPr>
        </p:nvSpPr>
        <p:spPr bwMode="gray">
          <a:xfrm>
            <a:off x="287455" y="1814188"/>
            <a:ext cx="5520000" cy="1852526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US" altLang="ja-JP" sz="1000" smtClean="0">
                <a:latin typeface="+mn-lt"/>
                <a:ea typeface="+mn-ea"/>
                <a:sym typeface="+mn-lt"/>
              </a:defRPr>
            </a:lvl1pPr>
            <a:lvl2pPr>
              <a:defRPr lang="en-US" altLang="ja-JP" sz="1000" smtClean="0">
                <a:latin typeface="+mn-lt"/>
                <a:ea typeface="+mn-ea"/>
                <a:sym typeface="+mn-lt"/>
              </a:defRPr>
            </a:lvl2pPr>
            <a:lvl3pPr>
              <a:defRPr lang="en-US" altLang="ja-JP" sz="1000" smtClean="0">
                <a:latin typeface="+mn-lt"/>
                <a:ea typeface="+mn-ea"/>
                <a:sym typeface="+mn-lt"/>
              </a:defRPr>
            </a:lvl3pPr>
            <a:lvl4pPr>
              <a:defRPr lang="en-US" altLang="ja-JP" sz="1000" smtClean="0">
                <a:latin typeface="+mn-lt"/>
                <a:ea typeface="+mn-ea"/>
                <a:sym typeface="+mn-lt"/>
              </a:defRPr>
            </a:lvl4pPr>
            <a:lvl5pPr>
              <a:defRPr lang="en-GB" sz="1000" dirty="0" smtClean="0">
                <a:latin typeface="+mn-lt"/>
                <a:ea typeface="+mn-ea"/>
                <a:sym typeface="+mn-lt"/>
              </a:defRPr>
            </a:lvl5pPr>
          </a:lstStyle>
          <a:p>
            <a:pPr lvl="0">
              <a:lnSpc>
                <a:spcPct val="100000"/>
              </a:lnSpc>
            </a:pPr>
            <a:r>
              <a:rPr lang="en-US" altLang="ja-JP"/>
              <a:t>Click to edit Master text styles</a:t>
            </a:r>
          </a:p>
          <a:p>
            <a:pPr lvl="1">
              <a:lnSpc>
                <a:spcPct val="100000"/>
              </a:lnSpc>
            </a:pPr>
            <a:r>
              <a:rPr lang="en-US" altLang="ja-JP"/>
              <a:t>Second level</a:t>
            </a:r>
          </a:p>
          <a:p>
            <a:pPr lvl="2">
              <a:lnSpc>
                <a:spcPct val="100000"/>
              </a:lnSpc>
            </a:pPr>
            <a:r>
              <a:rPr lang="en-US" altLang="ja-JP"/>
              <a:t>Third level</a:t>
            </a:r>
          </a:p>
          <a:p>
            <a:pPr lvl="3">
              <a:lnSpc>
                <a:spcPct val="100000"/>
              </a:lnSpc>
            </a:pPr>
            <a:r>
              <a:rPr lang="en-US" altLang="ja-JP"/>
              <a:t>Fourth level</a:t>
            </a:r>
          </a:p>
          <a:p>
            <a:pPr lvl="4">
              <a:lnSpc>
                <a:spcPct val="100000"/>
              </a:lnSpc>
            </a:pPr>
            <a:r>
              <a:rPr lang="en-US" altLang="ja-JP"/>
              <a:t>Fifth level</a:t>
            </a:r>
            <a:endParaRPr lang="en-GB" dirty="0"/>
          </a:p>
        </p:txBody>
      </p:sp>
      <p:sp>
        <p:nvSpPr>
          <p:cNvPr id="11" name="Heading Right Top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6393053" y="1341115"/>
            <a:ext cx="5520000" cy="307777"/>
          </a:xfrm>
        </p:spPr>
        <p:txBody>
          <a:bodyPr wrap="square" lIns="0" tIns="0" rIns="0" bIns="0"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000" b="1">
                <a:solidFill>
                  <a:schemeClr val="accent1"/>
                </a:solidFill>
                <a:latin typeface="+mn-lt"/>
                <a:sym typeface="+mn-lt"/>
              </a:defRPr>
            </a:lvl1pPr>
            <a:lvl2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000">
                <a:solidFill>
                  <a:schemeClr val="accent1"/>
                </a:solidFill>
                <a:latin typeface="+mn-lt"/>
                <a:sym typeface="+mn-lt"/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Heading 10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10" name="Heading Left Top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287455" y="1341115"/>
            <a:ext cx="5520000" cy="307777"/>
          </a:xfrm>
        </p:spPr>
        <p:txBody>
          <a:bodyPr wrap="square" lIns="0" tIns="0" rIns="0" bIns="0"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000" b="1">
                <a:solidFill>
                  <a:schemeClr val="accent1"/>
                </a:solidFill>
                <a:latin typeface="+mn-lt"/>
                <a:sym typeface="+mn-lt"/>
              </a:defRPr>
            </a:lvl1pPr>
            <a:lvl2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000">
                <a:solidFill>
                  <a:schemeClr val="accent1"/>
                </a:solidFill>
                <a:latin typeface="+mn-lt"/>
                <a:sym typeface="+mn-lt"/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Heading 10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14" name="Title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gray">
          <a:xfrm>
            <a:off x="287453" y="1"/>
            <a:ext cx="11625600" cy="1011600"/>
          </a:xfrm>
          <a:prstGeom prst="rect">
            <a:avLst/>
          </a:prstGeom>
        </p:spPr>
        <p:txBody>
          <a:bodyPr anchor="b"/>
          <a:lstStyle/>
          <a:p>
            <a:pPr lvl="0"/>
            <a:r>
              <a:rPr lang="en-US" altLang="ja-JP"/>
              <a:t>Click to edit Master title style</a:t>
            </a:r>
            <a:endParaRPr lang="en-GB" dirty="0"/>
          </a:p>
        </p:txBody>
      </p:sp>
      <p:sp>
        <p:nvSpPr>
          <p:cNvPr id="15" name="Content"/>
          <p:cNvSpPr>
            <a:spLocks noGrp="1"/>
          </p:cNvSpPr>
          <p:nvPr>
            <p:ph idx="10" hasCustomPrompt="1"/>
          </p:nvPr>
        </p:nvSpPr>
        <p:spPr bwMode="gray">
          <a:xfrm>
            <a:off x="287453" y="6046048"/>
            <a:ext cx="11625600" cy="123111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en-US" sz="800" dirty="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/>
            </a:lvl6pPr>
            <a:lvl7pPr fontAlgn="base">
              <a:lnSpc>
                <a:spcPct val="100000"/>
              </a:lnSpc>
              <a:spcAft>
                <a:spcPts val="0"/>
              </a:spcAft>
              <a:defRPr/>
            </a:lvl7pPr>
            <a:lvl8pPr fontAlgn="base">
              <a:lnSpc>
                <a:spcPct val="100000"/>
              </a:lnSpc>
              <a:spcAft>
                <a:spcPts val="0"/>
              </a:spcAft>
              <a:defRPr/>
            </a:lvl8pPr>
            <a:lvl9pPr fontAlgn="base">
              <a:lnSpc>
                <a:spcPct val="100000"/>
              </a:lnSpc>
              <a:spcAft>
                <a:spcPts val="0"/>
              </a:spcAft>
              <a:defRPr/>
            </a:lvl9pPr>
          </a:lstStyle>
          <a:p>
            <a:pPr lvl="0"/>
            <a:r>
              <a:rPr lang="en-GB" dirty="0"/>
              <a:t>Source: </a:t>
            </a:r>
          </a:p>
        </p:txBody>
      </p:sp>
      <p:sp>
        <p:nvSpPr>
          <p:cNvPr id="21" name="Content Right Top"/>
          <p:cNvSpPr>
            <a:spLocks noGrp="1"/>
          </p:cNvSpPr>
          <p:nvPr>
            <p:ph idx="34"/>
          </p:nvPr>
        </p:nvSpPr>
        <p:spPr bwMode="gray">
          <a:xfrm>
            <a:off x="6393053" y="4316632"/>
            <a:ext cx="5520000" cy="1852526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US" altLang="ja-JP" sz="1000" smtClean="0">
                <a:latin typeface="+mn-lt"/>
                <a:ea typeface="+mn-ea"/>
                <a:sym typeface="+mn-lt"/>
              </a:defRPr>
            </a:lvl1pPr>
            <a:lvl2pPr>
              <a:defRPr lang="en-US" altLang="ja-JP" sz="1000" smtClean="0">
                <a:latin typeface="+mn-lt"/>
                <a:ea typeface="+mn-ea"/>
                <a:sym typeface="+mn-lt"/>
              </a:defRPr>
            </a:lvl2pPr>
            <a:lvl3pPr>
              <a:defRPr lang="en-US" altLang="ja-JP" sz="1000" smtClean="0">
                <a:latin typeface="+mn-lt"/>
                <a:ea typeface="+mn-ea"/>
                <a:sym typeface="+mn-lt"/>
              </a:defRPr>
            </a:lvl3pPr>
            <a:lvl4pPr>
              <a:defRPr lang="en-US" altLang="ja-JP" sz="1000" smtClean="0">
                <a:latin typeface="+mn-lt"/>
                <a:ea typeface="+mn-ea"/>
                <a:sym typeface="+mn-lt"/>
              </a:defRPr>
            </a:lvl4pPr>
            <a:lvl5pPr>
              <a:defRPr lang="en-GB" sz="1000" dirty="0" smtClean="0">
                <a:latin typeface="+mn-lt"/>
                <a:ea typeface="+mn-ea"/>
                <a:sym typeface="+mn-lt"/>
              </a:defRPr>
            </a:lvl5pPr>
          </a:lstStyle>
          <a:p>
            <a:pPr lvl="0">
              <a:lnSpc>
                <a:spcPct val="100000"/>
              </a:lnSpc>
            </a:pPr>
            <a:r>
              <a:rPr lang="en-US" altLang="ja-JP"/>
              <a:t>Click to edit Master text styles</a:t>
            </a:r>
          </a:p>
          <a:p>
            <a:pPr lvl="1">
              <a:lnSpc>
                <a:spcPct val="100000"/>
              </a:lnSpc>
            </a:pPr>
            <a:r>
              <a:rPr lang="en-US" altLang="ja-JP"/>
              <a:t>Second level</a:t>
            </a:r>
          </a:p>
          <a:p>
            <a:pPr lvl="2">
              <a:lnSpc>
                <a:spcPct val="100000"/>
              </a:lnSpc>
            </a:pPr>
            <a:r>
              <a:rPr lang="en-US" altLang="ja-JP"/>
              <a:t>Third level</a:t>
            </a:r>
          </a:p>
          <a:p>
            <a:pPr lvl="3">
              <a:lnSpc>
                <a:spcPct val="100000"/>
              </a:lnSpc>
            </a:pPr>
            <a:r>
              <a:rPr lang="en-US" altLang="ja-JP"/>
              <a:t>Fourth level</a:t>
            </a:r>
          </a:p>
          <a:p>
            <a:pPr lvl="4">
              <a:lnSpc>
                <a:spcPct val="100000"/>
              </a:lnSpc>
            </a:pPr>
            <a:r>
              <a:rPr lang="en-US" altLang="ja-JP"/>
              <a:t>Fifth level</a:t>
            </a:r>
            <a:endParaRPr lang="en-GB" dirty="0"/>
          </a:p>
        </p:txBody>
      </p:sp>
      <p:sp>
        <p:nvSpPr>
          <p:cNvPr id="22" name="Content Left Top"/>
          <p:cNvSpPr>
            <a:spLocks noGrp="1"/>
          </p:cNvSpPr>
          <p:nvPr>
            <p:ph idx="35"/>
          </p:nvPr>
        </p:nvSpPr>
        <p:spPr bwMode="gray">
          <a:xfrm>
            <a:off x="287455" y="4316632"/>
            <a:ext cx="5520000" cy="1852526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US" altLang="ja-JP" sz="1000" smtClean="0">
                <a:latin typeface="+mn-lt"/>
                <a:ea typeface="+mn-ea"/>
                <a:sym typeface="+mn-lt"/>
              </a:defRPr>
            </a:lvl1pPr>
            <a:lvl2pPr>
              <a:defRPr lang="en-US" altLang="ja-JP" sz="1000" smtClean="0">
                <a:latin typeface="+mn-lt"/>
                <a:ea typeface="+mn-ea"/>
                <a:sym typeface="+mn-lt"/>
              </a:defRPr>
            </a:lvl2pPr>
            <a:lvl3pPr>
              <a:defRPr lang="en-US" altLang="ja-JP" sz="1000" smtClean="0">
                <a:latin typeface="+mn-lt"/>
                <a:ea typeface="+mn-ea"/>
                <a:sym typeface="+mn-lt"/>
              </a:defRPr>
            </a:lvl3pPr>
            <a:lvl4pPr>
              <a:defRPr lang="en-US" altLang="ja-JP" sz="1000" smtClean="0">
                <a:latin typeface="+mn-lt"/>
                <a:ea typeface="+mn-ea"/>
                <a:sym typeface="+mn-lt"/>
              </a:defRPr>
            </a:lvl4pPr>
            <a:lvl5pPr>
              <a:defRPr lang="en-GB" sz="1000" dirty="0" smtClean="0">
                <a:latin typeface="+mn-lt"/>
                <a:ea typeface="+mn-ea"/>
                <a:sym typeface="+mn-lt"/>
              </a:defRPr>
            </a:lvl5pPr>
          </a:lstStyle>
          <a:p>
            <a:pPr lvl="0">
              <a:lnSpc>
                <a:spcPct val="100000"/>
              </a:lnSpc>
            </a:pPr>
            <a:r>
              <a:rPr lang="en-US" altLang="ja-JP"/>
              <a:t>Click to edit Master text styles</a:t>
            </a:r>
          </a:p>
          <a:p>
            <a:pPr lvl="1">
              <a:lnSpc>
                <a:spcPct val="100000"/>
              </a:lnSpc>
            </a:pPr>
            <a:r>
              <a:rPr lang="en-US" altLang="ja-JP"/>
              <a:t>Second level</a:t>
            </a:r>
          </a:p>
          <a:p>
            <a:pPr lvl="2">
              <a:lnSpc>
                <a:spcPct val="100000"/>
              </a:lnSpc>
            </a:pPr>
            <a:r>
              <a:rPr lang="en-US" altLang="ja-JP"/>
              <a:t>Third level</a:t>
            </a:r>
          </a:p>
          <a:p>
            <a:pPr lvl="3">
              <a:lnSpc>
                <a:spcPct val="100000"/>
              </a:lnSpc>
            </a:pPr>
            <a:r>
              <a:rPr lang="en-US" altLang="ja-JP"/>
              <a:t>Fourth level</a:t>
            </a:r>
          </a:p>
          <a:p>
            <a:pPr lvl="4">
              <a:lnSpc>
                <a:spcPct val="100000"/>
              </a:lnSpc>
            </a:pPr>
            <a:r>
              <a:rPr lang="en-US" altLang="ja-JP"/>
              <a:t>Fifth level</a:t>
            </a:r>
            <a:endParaRPr lang="en-GB" dirty="0"/>
          </a:p>
        </p:txBody>
      </p:sp>
      <p:sp>
        <p:nvSpPr>
          <p:cNvPr id="23" name="Heading Right Top"/>
          <p:cNvSpPr>
            <a:spLocks noGrp="1"/>
          </p:cNvSpPr>
          <p:nvPr>
            <p:ph type="body" sz="quarter" idx="36" hasCustomPrompt="1"/>
          </p:nvPr>
        </p:nvSpPr>
        <p:spPr bwMode="gray">
          <a:xfrm>
            <a:off x="6393053" y="3843558"/>
            <a:ext cx="5520000" cy="307777"/>
          </a:xfrm>
        </p:spPr>
        <p:txBody>
          <a:bodyPr wrap="square" lIns="0" tIns="0" rIns="0" bIns="0"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000" b="1">
                <a:solidFill>
                  <a:schemeClr val="accent1"/>
                </a:solidFill>
                <a:latin typeface="+mn-lt"/>
                <a:sym typeface="+mn-lt"/>
              </a:defRPr>
            </a:lvl1pPr>
            <a:lvl2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000">
                <a:solidFill>
                  <a:schemeClr val="accent1"/>
                </a:solidFill>
                <a:latin typeface="+mn-lt"/>
                <a:sym typeface="+mn-lt"/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Heading 10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4" name="Heading Left Top"/>
          <p:cNvSpPr>
            <a:spLocks noGrp="1"/>
          </p:cNvSpPr>
          <p:nvPr>
            <p:ph type="body" sz="quarter" idx="37" hasCustomPrompt="1"/>
          </p:nvPr>
        </p:nvSpPr>
        <p:spPr bwMode="gray">
          <a:xfrm>
            <a:off x="287455" y="3843558"/>
            <a:ext cx="5520000" cy="307777"/>
          </a:xfrm>
        </p:spPr>
        <p:txBody>
          <a:bodyPr wrap="square" lIns="0" tIns="0" rIns="0" bIns="0"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000" b="1">
                <a:solidFill>
                  <a:schemeClr val="accent1"/>
                </a:solidFill>
                <a:latin typeface="+mn-lt"/>
                <a:sym typeface="+mn-lt"/>
              </a:defRPr>
            </a:lvl1pPr>
            <a:lvl2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000">
                <a:solidFill>
                  <a:schemeClr val="accent1"/>
                </a:solidFill>
                <a:latin typeface="+mn-lt"/>
                <a:sym typeface="+mn-lt"/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Heading 10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0 </a:t>
            </a:r>
            <a:r>
              <a:rPr lang="en-US" dirty="0" err="1"/>
              <a:t>p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52424555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Content Right"/>
          <p:cNvSpPr>
            <a:spLocks noGrp="1"/>
          </p:cNvSpPr>
          <p:nvPr>
            <p:ph idx="27"/>
          </p:nvPr>
        </p:nvSpPr>
        <p:spPr bwMode="gray">
          <a:xfrm>
            <a:off x="8313053" y="1341114"/>
            <a:ext cx="3600000" cy="4828044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fontAlgn="base">
              <a:lnSpc>
                <a:spcPct val="100000"/>
              </a:lnSpc>
              <a:spcAft>
                <a:spcPts val="0"/>
              </a:spcAft>
              <a:defRPr lang="en-US" sz="120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sz="120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sz="120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sz="120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sz="1200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 sz="1200"/>
            </a:lvl6pPr>
            <a:lvl7pPr fontAlgn="base">
              <a:lnSpc>
                <a:spcPct val="100000"/>
              </a:lnSpc>
              <a:spcAft>
                <a:spcPts val="0"/>
              </a:spcAft>
              <a:defRPr sz="1200"/>
            </a:lvl7pPr>
            <a:lvl8pPr fontAlgn="base">
              <a:lnSpc>
                <a:spcPct val="100000"/>
              </a:lnSpc>
              <a:spcAft>
                <a:spcPts val="0"/>
              </a:spcAft>
              <a:defRPr sz="1200"/>
            </a:lvl8pPr>
            <a:lvl9pPr fontAlgn="base">
              <a:lnSpc>
                <a:spcPct val="100000"/>
              </a:lnSpc>
              <a:spcAft>
                <a:spcPts val="0"/>
              </a:spcAft>
              <a:defRPr sz="1200"/>
            </a:lvl9pPr>
          </a:lstStyle>
          <a:p>
            <a:pPr lvl="0"/>
            <a:r>
              <a:rPr lang="en-US" altLang="ja-JP"/>
              <a:t>Click to edit Master text styles</a:t>
            </a:r>
          </a:p>
          <a:p>
            <a:pPr lvl="1"/>
            <a:r>
              <a:rPr lang="en-US" altLang="ja-JP"/>
              <a:t>Second level</a:t>
            </a:r>
          </a:p>
          <a:p>
            <a:pPr lvl="2"/>
            <a:r>
              <a:rPr lang="en-US" altLang="ja-JP"/>
              <a:t>Third level</a:t>
            </a:r>
          </a:p>
          <a:p>
            <a:pPr lvl="3"/>
            <a:r>
              <a:rPr lang="en-US" altLang="ja-JP"/>
              <a:t>Fourth level</a:t>
            </a:r>
          </a:p>
          <a:p>
            <a:pPr lvl="4"/>
            <a:r>
              <a:rPr lang="en-US" altLang="ja-JP"/>
              <a:t>Fifth level</a:t>
            </a:r>
            <a:endParaRPr lang="en-GB" dirty="0"/>
          </a:p>
        </p:txBody>
      </p:sp>
      <p:sp>
        <p:nvSpPr>
          <p:cNvPr id="14" name="Content Middle"/>
          <p:cNvSpPr>
            <a:spLocks noGrp="1"/>
          </p:cNvSpPr>
          <p:nvPr>
            <p:ph idx="26"/>
          </p:nvPr>
        </p:nvSpPr>
        <p:spPr bwMode="gray">
          <a:xfrm>
            <a:off x="4300252" y="1341114"/>
            <a:ext cx="3600000" cy="4828044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sz="1200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 sz="1200"/>
            </a:lvl6pPr>
            <a:lvl7pPr fontAlgn="base">
              <a:lnSpc>
                <a:spcPct val="100000"/>
              </a:lnSpc>
              <a:spcAft>
                <a:spcPts val="0"/>
              </a:spcAft>
              <a:defRPr sz="1200"/>
            </a:lvl7pPr>
            <a:lvl8pPr fontAlgn="base">
              <a:lnSpc>
                <a:spcPct val="100000"/>
              </a:lnSpc>
              <a:spcAft>
                <a:spcPts val="0"/>
              </a:spcAft>
              <a:defRPr sz="1200"/>
            </a:lvl8pPr>
            <a:lvl9pPr fontAlgn="base">
              <a:lnSpc>
                <a:spcPct val="100000"/>
              </a:lnSpc>
              <a:spcAft>
                <a:spcPts val="0"/>
              </a:spcAft>
              <a:defRPr sz="1200"/>
            </a:lvl9pPr>
          </a:lstStyle>
          <a:p>
            <a:pPr lvl="0"/>
            <a:r>
              <a:rPr lang="en-US" altLang="ja-JP"/>
              <a:t>Click to edit Master text styles</a:t>
            </a:r>
          </a:p>
          <a:p>
            <a:pPr lvl="1"/>
            <a:r>
              <a:rPr lang="en-US" altLang="ja-JP"/>
              <a:t>Second level</a:t>
            </a:r>
          </a:p>
          <a:p>
            <a:pPr lvl="2"/>
            <a:r>
              <a:rPr lang="en-US" altLang="ja-JP"/>
              <a:t>Third level</a:t>
            </a:r>
          </a:p>
          <a:p>
            <a:pPr lvl="3"/>
            <a:r>
              <a:rPr lang="en-US" altLang="ja-JP"/>
              <a:t>Fourth level</a:t>
            </a:r>
          </a:p>
          <a:p>
            <a:pPr lvl="4"/>
            <a:r>
              <a:rPr lang="en-US" altLang="ja-JP"/>
              <a:t>Fifth level</a:t>
            </a:r>
            <a:endParaRPr lang="en-GB" dirty="0"/>
          </a:p>
        </p:txBody>
      </p:sp>
      <p:sp>
        <p:nvSpPr>
          <p:cNvPr id="13" name="Content Left"/>
          <p:cNvSpPr>
            <a:spLocks noGrp="1"/>
          </p:cNvSpPr>
          <p:nvPr>
            <p:ph idx="25"/>
          </p:nvPr>
        </p:nvSpPr>
        <p:spPr bwMode="gray">
          <a:xfrm>
            <a:off x="287452" y="1341114"/>
            <a:ext cx="3600000" cy="4828044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fontAlgn="base">
              <a:lnSpc>
                <a:spcPct val="100000"/>
              </a:lnSpc>
              <a:spcAft>
                <a:spcPts val="0"/>
              </a:spcAft>
              <a:defRPr lang="en-US" sz="120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sz="120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sz="120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sz="120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sz="1200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 sz="1200"/>
            </a:lvl6pPr>
            <a:lvl7pPr fontAlgn="base">
              <a:lnSpc>
                <a:spcPct val="100000"/>
              </a:lnSpc>
              <a:spcAft>
                <a:spcPts val="0"/>
              </a:spcAft>
              <a:defRPr sz="1200"/>
            </a:lvl7pPr>
            <a:lvl8pPr fontAlgn="base">
              <a:lnSpc>
                <a:spcPct val="100000"/>
              </a:lnSpc>
              <a:spcAft>
                <a:spcPts val="0"/>
              </a:spcAft>
              <a:defRPr sz="1200"/>
            </a:lvl8pPr>
            <a:lvl9pPr fontAlgn="base">
              <a:lnSpc>
                <a:spcPct val="100000"/>
              </a:lnSpc>
              <a:spcAft>
                <a:spcPts val="0"/>
              </a:spcAft>
              <a:defRPr sz="1200"/>
            </a:lvl9pPr>
          </a:lstStyle>
          <a:p>
            <a:pPr lvl="0"/>
            <a:r>
              <a:rPr lang="en-US" altLang="ja-JP"/>
              <a:t>Click to edit Master text styles</a:t>
            </a:r>
          </a:p>
          <a:p>
            <a:pPr lvl="1"/>
            <a:r>
              <a:rPr lang="en-US" altLang="ja-JP"/>
              <a:t>Second level</a:t>
            </a:r>
          </a:p>
          <a:p>
            <a:pPr lvl="2"/>
            <a:r>
              <a:rPr lang="en-US" altLang="ja-JP"/>
              <a:t>Third level</a:t>
            </a:r>
          </a:p>
          <a:p>
            <a:pPr lvl="3"/>
            <a:r>
              <a:rPr lang="en-US" altLang="ja-JP"/>
              <a:t>Fourth level</a:t>
            </a:r>
          </a:p>
          <a:p>
            <a:pPr lvl="4"/>
            <a:r>
              <a:rPr lang="en-US" altLang="ja-JP"/>
              <a:t>Fifth level</a:t>
            </a:r>
            <a:endParaRPr lang="en-GB" dirty="0"/>
          </a:p>
        </p:txBody>
      </p:sp>
      <p:sp>
        <p:nvSpPr>
          <p:cNvPr id="7" name="Title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gray">
          <a:xfrm>
            <a:off x="287453" y="1"/>
            <a:ext cx="11625600" cy="1011600"/>
          </a:xfrm>
          <a:prstGeom prst="rect">
            <a:avLst/>
          </a:prstGeom>
        </p:spPr>
        <p:txBody>
          <a:bodyPr anchor="b"/>
          <a:lstStyle/>
          <a:p>
            <a:pPr lvl="0"/>
            <a:r>
              <a:rPr lang="en-US" altLang="ja-JP"/>
              <a:t>Click to edit Master title style</a:t>
            </a:r>
            <a:endParaRPr lang="en-GB" dirty="0"/>
          </a:p>
        </p:txBody>
      </p:sp>
      <p:sp>
        <p:nvSpPr>
          <p:cNvPr id="6" name="Content"/>
          <p:cNvSpPr>
            <a:spLocks noGrp="1"/>
          </p:cNvSpPr>
          <p:nvPr>
            <p:ph idx="10" hasCustomPrompt="1"/>
          </p:nvPr>
        </p:nvSpPr>
        <p:spPr bwMode="gray">
          <a:xfrm>
            <a:off x="287453" y="6046048"/>
            <a:ext cx="11625600" cy="123111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en-US" sz="800" dirty="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/>
            </a:lvl6pPr>
            <a:lvl7pPr fontAlgn="base">
              <a:lnSpc>
                <a:spcPct val="100000"/>
              </a:lnSpc>
              <a:spcAft>
                <a:spcPts val="0"/>
              </a:spcAft>
              <a:defRPr/>
            </a:lvl7pPr>
            <a:lvl8pPr fontAlgn="base">
              <a:lnSpc>
                <a:spcPct val="100000"/>
              </a:lnSpc>
              <a:spcAft>
                <a:spcPts val="0"/>
              </a:spcAft>
              <a:defRPr/>
            </a:lvl8pPr>
            <a:lvl9pPr fontAlgn="base">
              <a:lnSpc>
                <a:spcPct val="100000"/>
              </a:lnSpc>
              <a:spcAft>
                <a:spcPts val="0"/>
              </a:spcAft>
              <a:defRPr/>
            </a:lvl9pPr>
          </a:lstStyle>
          <a:p>
            <a:pPr lvl="0"/>
            <a:r>
              <a:rPr lang="en-GB" dirty="0"/>
              <a:t>Source: </a:t>
            </a:r>
          </a:p>
        </p:txBody>
      </p:sp>
    </p:spTree>
    <p:extLst>
      <p:ext uri="{BB962C8B-B14F-4D97-AF65-F5344CB8AC3E}">
        <p14:creationId xmlns:p14="http://schemas.microsoft.com/office/powerpoint/2010/main" val="3399891221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with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Content Right"/>
          <p:cNvSpPr>
            <a:spLocks noGrp="1"/>
          </p:cNvSpPr>
          <p:nvPr>
            <p:ph idx="27"/>
          </p:nvPr>
        </p:nvSpPr>
        <p:spPr bwMode="gray">
          <a:xfrm>
            <a:off x="8313053" y="1882448"/>
            <a:ext cx="3600000" cy="4286711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fontAlgn="base">
              <a:lnSpc>
                <a:spcPct val="100000"/>
              </a:lnSpc>
              <a:spcAft>
                <a:spcPts val="0"/>
              </a:spcAft>
              <a:defRPr lang="en-US" sz="120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sz="120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sz="120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sz="120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sz="1200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 sz="1200"/>
            </a:lvl6pPr>
            <a:lvl7pPr fontAlgn="base">
              <a:lnSpc>
                <a:spcPct val="100000"/>
              </a:lnSpc>
              <a:spcAft>
                <a:spcPts val="0"/>
              </a:spcAft>
              <a:defRPr sz="1200"/>
            </a:lvl7pPr>
            <a:lvl8pPr fontAlgn="base">
              <a:lnSpc>
                <a:spcPct val="100000"/>
              </a:lnSpc>
              <a:spcAft>
                <a:spcPts val="0"/>
              </a:spcAft>
              <a:defRPr sz="1200"/>
            </a:lvl8pPr>
            <a:lvl9pPr fontAlgn="base">
              <a:lnSpc>
                <a:spcPct val="100000"/>
              </a:lnSpc>
              <a:spcAft>
                <a:spcPts val="0"/>
              </a:spcAft>
              <a:defRPr sz="1200"/>
            </a:lvl9pPr>
          </a:lstStyle>
          <a:p>
            <a:pPr lvl="0"/>
            <a:r>
              <a:rPr lang="en-US" altLang="ja-JP"/>
              <a:t>Click to edit Master text styles</a:t>
            </a:r>
          </a:p>
          <a:p>
            <a:pPr lvl="1"/>
            <a:r>
              <a:rPr lang="en-US" altLang="ja-JP"/>
              <a:t>Second level</a:t>
            </a:r>
          </a:p>
          <a:p>
            <a:pPr lvl="2"/>
            <a:r>
              <a:rPr lang="en-US" altLang="ja-JP"/>
              <a:t>Third level</a:t>
            </a:r>
          </a:p>
          <a:p>
            <a:pPr lvl="3"/>
            <a:r>
              <a:rPr lang="en-US" altLang="ja-JP"/>
              <a:t>Fourth level</a:t>
            </a:r>
          </a:p>
          <a:p>
            <a:pPr lvl="4"/>
            <a:r>
              <a:rPr lang="en-US" altLang="ja-JP"/>
              <a:t>Fifth level</a:t>
            </a:r>
            <a:endParaRPr lang="en-GB" dirty="0"/>
          </a:p>
        </p:txBody>
      </p:sp>
      <p:sp>
        <p:nvSpPr>
          <p:cNvPr id="17" name="Content Middle"/>
          <p:cNvSpPr>
            <a:spLocks noGrp="1"/>
          </p:cNvSpPr>
          <p:nvPr>
            <p:ph idx="26"/>
          </p:nvPr>
        </p:nvSpPr>
        <p:spPr bwMode="gray">
          <a:xfrm>
            <a:off x="4300252" y="1882448"/>
            <a:ext cx="3600000" cy="4286711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sz="1200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 sz="1200"/>
            </a:lvl6pPr>
            <a:lvl7pPr fontAlgn="base">
              <a:lnSpc>
                <a:spcPct val="100000"/>
              </a:lnSpc>
              <a:spcAft>
                <a:spcPts val="0"/>
              </a:spcAft>
              <a:defRPr sz="1200"/>
            </a:lvl7pPr>
            <a:lvl8pPr fontAlgn="base">
              <a:lnSpc>
                <a:spcPct val="100000"/>
              </a:lnSpc>
              <a:spcAft>
                <a:spcPts val="0"/>
              </a:spcAft>
              <a:defRPr sz="1200"/>
            </a:lvl8pPr>
            <a:lvl9pPr fontAlgn="base">
              <a:lnSpc>
                <a:spcPct val="100000"/>
              </a:lnSpc>
              <a:spcAft>
                <a:spcPts val="0"/>
              </a:spcAft>
              <a:defRPr sz="1200"/>
            </a:lvl9pPr>
          </a:lstStyle>
          <a:p>
            <a:pPr lvl="0"/>
            <a:r>
              <a:rPr lang="en-US" altLang="ja-JP"/>
              <a:t>Click to edit Master text styles</a:t>
            </a:r>
          </a:p>
          <a:p>
            <a:pPr lvl="1"/>
            <a:r>
              <a:rPr lang="en-US" altLang="ja-JP"/>
              <a:t>Second level</a:t>
            </a:r>
          </a:p>
          <a:p>
            <a:pPr lvl="2"/>
            <a:r>
              <a:rPr lang="en-US" altLang="ja-JP"/>
              <a:t>Third level</a:t>
            </a:r>
          </a:p>
          <a:p>
            <a:pPr lvl="3"/>
            <a:r>
              <a:rPr lang="en-US" altLang="ja-JP"/>
              <a:t>Fourth level</a:t>
            </a:r>
          </a:p>
          <a:p>
            <a:pPr lvl="4"/>
            <a:r>
              <a:rPr lang="en-US" altLang="ja-JP"/>
              <a:t>Fifth level</a:t>
            </a:r>
            <a:endParaRPr lang="en-GB" dirty="0"/>
          </a:p>
        </p:txBody>
      </p:sp>
      <p:sp>
        <p:nvSpPr>
          <p:cNvPr id="16" name="Content Left"/>
          <p:cNvSpPr>
            <a:spLocks noGrp="1"/>
          </p:cNvSpPr>
          <p:nvPr>
            <p:ph idx="25"/>
          </p:nvPr>
        </p:nvSpPr>
        <p:spPr bwMode="gray">
          <a:xfrm>
            <a:off x="287452" y="1882448"/>
            <a:ext cx="3600000" cy="4286711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sz="1200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 sz="1200"/>
            </a:lvl6pPr>
            <a:lvl7pPr fontAlgn="base">
              <a:lnSpc>
                <a:spcPct val="100000"/>
              </a:lnSpc>
              <a:spcAft>
                <a:spcPts val="0"/>
              </a:spcAft>
              <a:defRPr sz="1200"/>
            </a:lvl7pPr>
            <a:lvl8pPr fontAlgn="base">
              <a:lnSpc>
                <a:spcPct val="100000"/>
              </a:lnSpc>
              <a:spcAft>
                <a:spcPts val="0"/>
              </a:spcAft>
              <a:defRPr sz="1200"/>
            </a:lvl8pPr>
            <a:lvl9pPr fontAlgn="base">
              <a:lnSpc>
                <a:spcPct val="100000"/>
              </a:lnSpc>
              <a:spcAft>
                <a:spcPts val="0"/>
              </a:spcAft>
              <a:defRPr sz="1200"/>
            </a:lvl9pPr>
          </a:lstStyle>
          <a:p>
            <a:pPr lvl="0"/>
            <a:r>
              <a:rPr lang="en-US" altLang="ja-JP"/>
              <a:t>Click to edit Master text styles</a:t>
            </a:r>
          </a:p>
          <a:p>
            <a:pPr lvl="1"/>
            <a:r>
              <a:rPr lang="en-US" altLang="ja-JP"/>
              <a:t>Second level</a:t>
            </a:r>
          </a:p>
          <a:p>
            <a:pPr lvl="2"/>
            <a:r>
              <a:rPr lang="en-US" altLang="ja-JP"/>
              <a:t>Third level</a:t>
            </a:r>
          </a:p>
          <a:p>
            <a:pPr lvl="3"/>
            <a:r>
              <a:rPr lang="en-US" altLang="ja-JP"/>
              <a:t>Fourth level</a:t>
            </a:r>
          </a:p>
          <a:p>
            <a:pPr lvl="4"/>
            <a:r>
              <a:rPr lang="en-US" altLang="ja-JP"/>
              <a:t>Fifth level</a:t>
            </a:r>
            <a:endParaRPr lang="en-GB" dirty="0"/>
          </a:p>
        </p:txBody>
      </p:sp>
      <p:sp>
        <p:nvSpPr>
          <p:cNvPr id="21" name="Heading Right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8313053" y="1337514"/>
            <a:ext cx="3600000" cy="369332"/>
          </a:xfrm>
        </p:spPr>
        <p:txBody>
          <a:bodyPr wrap="square" lIns="0" tIns="0" rIns="0" bIns="0"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200" b="1">
                <a:solidFill>
                  <a:schemeClr val="accent1"/>
                </a:solidFill>
                <a:latin typeface="+mn-lt"/>
                <a:sym typeface="+mn-lt"/>
              </a:defRPr>
            </a:lvl1pPr>
            <a:lvl2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200" b="0" baseline="0">
                <a:solidFill>
                  <a:schemeClr val="accent1"/>
                </a:solidFill>
                <a:latin typeface="+mn-lt"/>
                <a:sym typeface="+mn-lt"/>
              </a:defRPr>
            </a:lvl2pPr>
          </a:lstStyle>
          <a:p>
            <a:pPr lvl="0"/>
            <a:r>
              <a:rPr lang="en-US" dirty="0"/>
              <a:t>Heading 12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2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2" name="Heading Middle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300253" y="1337514"/>
            <a:ext cx="3600000" cy="369332"/>
          </a:xfrm>
        </p:spPr>
        <p:txBody>
          <a:bodyPr lIns="0" tIns="0" rIns="0" bIns="0"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200" b="1">
                <a:solidFill>
                  <a:schemeClr val="accent1"/>
                </a:solidFill>
                <a:latin typeface="+mn-lt"/>
                <a:sym typeface="+mn-lt"/>
              </a:defRPr>
            </a:lvl1pPr>
            <a:lvl2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200" b="0" baseline="0">
                <a:solidFill>
                  <a:schemeClr val="accent1"/>
                </a:solidFill>
                <a:latin typeface="+mn-lt"/>
                <a:sym typeface="+mn-lt"/>
              </a:defRPr>
            </a:lvl2pPr>
          </a:lstStyle>
          <a:p>
            <a:pPr lvl="0"/>
            <a:r>
              <a:rPr lang="en-US" dirty="0"/>
              <a:t>Heading 12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2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0" name="Heading Left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287453" y="1337514"/>
            <a:ext cx="3600000" cy="369332"/>
          </a:xfrm>
        </p:spPr>
        <p:txBody>
          <a:bodyPr lIns="0" tIns="0" rIns="0" bIns="0"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200" b="1">
                <a:solidFill>
                  <a:schemeClr val="accent1"/>
                </a:solidFill>
                <a:latin typeface="+mn-lt"/>
                <a:sym typeface="+mn-lt"/>
              </a:defRPr>
            </a:lvl1pPr>
            <a:lvl2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200" b="0" baseline="0">
                <a:solidFill>
                  <a:schemeClr val="accent1"/>
                </a:solidFill>
                <a:latin typeface="+mn-lt"/>
                <a:sym typeface="+mn-lt"/>
              </a:defRPr>
            </a:lvl2pPr>
          </a:lstStyle>
          <a:p>
            <a:pPr lvl="0"/>
            <a:r>
              <a:rPr lang="en-US" dirty="0"/>
              <a:t>Heading 12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2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10" name="Title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gray">
          <a:xfrm>
            <a:off x="287453" y="1"/>
            <a:ext cx="11625600" cy="1011600"/>
          </a:xfrm>
          <a:prstGeom prst="rect">
            <a:avLst/>
          </a:prstGeom>
        </p:spPr>
        <p:txBody>
          <a:bodyPr anchor="b"/>
          <a:lstStyle/>
          <a:p>
            <a:pPr lvl="0"/>
            <a:r>
              <a:rPr lang="en-US" altLang="ja-JP"/>
              <a:t>Click to edit Master title style</a:t>
            </a:r>
            <a:endParaRPr lang="en-GB" dirty="0"/>
          </a:p>
        </p:txBody>
      </p:sp>
      <p:sp>
        <p:nvSpPr>
          <p:cNvPr id="9" name="Content"/>
          <p:cNvSpPr>
            <a:spLocks noGrp="1"/>
          </p:cNvSpPr>
          <p:nvPr>
            <p:ph idx="10" hasCustomPrompt="1"/>
          </p:nvPr>
        </p:nvSpPr>
        <p:spPr bwMode="gray">
          <a:xfrm>
            <a:off x="287453" y="6046048"/>
            <a:ext cx="11625600" cy="123111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en-US" sz="800" dirty="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/>
            </a:lvl6pPr>
            <a:lvl7pPr fontAlgn="base">
              <a:lnSpc>
                <a:spcPct val="100000"/>
              </a:lnSpc>
              <a:spcAft>
                <a:spcPts val="0"/>
              </a:spcAft>
              <a:defRPr/>
            </a:lvl7pPr>
            <a:lvl8pPr fontAlgn="base">
              <a:lnSpc>
                <a:spcPct val="100000"/>
              </a:lnSpc>
              <a:spcAft>
                <a:spcPts val="0"/>
              </a:spcAft>
              <a:defRPr/>
            </a:lvl8pPr>
            <a:lvl9pPr fontAlgn="base">
              <a:lnSpc>
                <a:spcPct val="100000"/>
              </a:lnSpc>
              <a:spcAft>
                <a:spcPts val="0"/>
              </a:spcAft>
              <a:defRPr/>
            </a:lvl9pPr>
          </a:lstStyle>
          <a:p>
            <a:pPr lvl="0"/>
            <a:r>
              <a:rPr lang="en-GB" dirty="0"/>
              <a:t>Source: </a:t>
            </a:r>
          </a:p>
        </p:txBody>
      </p:sp>
    </p:spTree>
    <p:extLst>
      <p:ext uri="{BB962C8B-B14F-4D97-AF65-F5344CB8AC3E}">
        <p14:creationId xmlns:p14="http://schemas.microsoft.com/office/powerpoint/2010/main" val="3003989273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2/3 spl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Content Right"/>
          <p:cNvSpPr>
            <a:spLocks noGrp="1"/>
          </p:cNvSpPr>
          <p:nvPr>
            <p:ph idx="28"/>
          </p:nvPr>
        </p:nvSpPr>
        <p:spPr bwMode="gray">
          <a:xfrm>
            <a:off x="8313053" y="1882448"/>
            <a:ext cx="3600000" cy="4286711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sz="1200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 sz="1200"/>
            </a:lvl6pPr>
            <a:lvl7pPr fontAlgn="base">
              <a:lnSpc>
                <a:spcPct val="100000"/>
              </a:lnSpc>
              <a:spcAft>
                <a:spcPts val="0"/>
              </a:spcAft>
              <a:defRPr sz="1200"/>
            </a:lvl7pPr>
            <a:lvl8pPr fontAlgn="base">
              <a:lnSpc>
                <a:spcPct val="100000"/>
              </a:lnSpc>
              <a:spcAft>
                <a:spcPts val="0"/>
              </a:spcAft>
              <a:defRPr sz="1200"/>
            </a:lvl8pPr>
            <a:lvl9pPr fontAlgn="base">
              <a:lnSpc>
                <a:spcPct val="100000"/>
              </a:lnSpc>
              <a:spcAft>
                <a:spcPts val="0"/>
              </a:spcAft>
              <a:defRPr sz="1200"/>
            </a:lvl9pPr>
          </a:lstStyle>
          <a:p>
            <a:pPr lvl="0"/>
            <a:r>
              <a:rPr lang="en-US" altLang="ja-JP"/>
              <a:t>Click to edit Master text styles</a:t>
            </a:r>
          </a:p>
          <a:p>
            <a:pPr lvl="1"/>
            <a:r>
              <a:rPr lang="en-US" altLang="ja-JP"/>
              <a:t>Second level</a:t>
            </a:r>
          </a:p>
          <a:p>
            <a:pPr lvl="2"/>
            <a:r>
              <a:rPr lang="en-US" altLang="ja-JP"/>
              <a:t>Third level</a:t>
            </a:r>
          </a:p>
          <a:p>
            <a:pPr lvl="3"/>
            <a:r>
              <a:rPr lang="en-US" altLang="ja-JP"/>
              <a:t>Fourth level</a:t>
            </a:r>
          </a:p>
          <a:p>
            <a:pPr lvl="4"/>
            <a:r>
              <a:rPr lang="en-US" altLang="ja-JP"/>
              <a:t>Fifth level</a:t>
            </a:r>
            <a:endParaRPr lang="en-GB" dirty="0"/>
          </a:p>
        </p:txBody>
      </p:sp>
      <p:sp>
        <p:nvSpPr>
          <p:cNvPr id="19" name="Heading Right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8313053" y="1337514"/>
            <a:ext cx="3600000" cy="369332"/>
          </a:xfrm>
        </p:spPr>
        <p:txBody>
          <a:bodyPr lIns="0" tIns="0" rIns="0" bIns="0"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200" b="1">
                <a:solidFill>
                  <a:schemeClr val="accent1"/>
                </a:solidFill>
                <a:latin typeface="+mn-lt"/>
                <a:sym typeface="+mn-lt"/>
              </a:defRPr>
            </a:lvl1pPr>
            <a:lvl2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200">
                <a:solidFill>
                  <a:schemeClr val="accent1"/>
                </a:solidFill>
                <a:latin typeface="+mn-lt"/>
                <a:sym typeface="+mn-lt"/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Heading 12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2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8" name="Title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gray">
          <a:xfrm>
            <a:off x="287453" y="1"/>
            <a:ext cx="11625600" cy="1011600"/>
          </a:xfrm>
          <a:prstGeom prst="rect">
            <a:avLst/>
          </a:prstGeom>
        </p:spPr>
        <p:txBody>
          <a:bodyPr anchor="b"/>
          <a:lstStyle/>
          <a:p>
            <a:pPr lvl="0"/>
            <a:r>
              <a:rPr lang="en-US" altLang="ja-JP"/>
              <a:t>Click to edit Master title style</a:t>
            </a:r>
            <a:endParaRPr lang="en-GB" dirty="0"/>
          </a:p>
        </p:txBody>
      </p:sp>
      <p:sp>
        <p:nvSpPr>
          <p:cNvPr id="12" name="Content Middle"/>
          <p:cNvSpPr>
            <a:spLocks noGrp="1"/>
          </p:cNvSpPr>
          <p:nvPr>
            <p:ph idx="26"/>
          </p:nvPr>
        </p:nvSpPr>
        <p:spPr bwMode="gray">
          <a:xfrm>
            <a:off x="287454" y="1882448"/>
            <a:ext cx="7612799" cy="4286711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sz="1200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 sz="1200"/>
            </a:lvl6pPr>
            <a:lvl7pPr fontAlgn="base">
              <a:lnSpc>
                <a:spcPct val="100000"/>
              </a:lnSpc>
              <a:spcAft>
                <a:spcPts val="0"/>
              </a:spcAft>
              <a:defRPr sz="1200"/>
            </a:lvl7pPr>
            <a:lvl8pPr fontAlgn="base">
              <a:lnSpc>
                <a:spcPct val="100000"/>
              </a:lnSpc>
              <a:spcAft>
                <a:spcPts val="0"/>
              </a:spcAft>
              <a:defRPr sz="1200"/>
            </a:lvl8pPr>
            <a:lvl9pPr fontAlgn="base">
              <a:lnSpc>
                <a:spcPct val="100000"/>
              </a:lnSpc>
              <a:spcAft>
                <a:spcPts val="0"/>
              </a:spcAft>
              <a:defRPr sz="1200"/>
            </a:lvl9pPr>
          </a:lstStyle>
          <a:p>
            <a:pPr lvl="0"/>
            <a:r>
              <a:rPr lang="en-US" altLang="ja-JP"/>
              <a:t>Click to edit Master text styles</a:t>
            </a:r>
          </a:p>
          <a:p>
            <a:pPr lvl="1"/>
            <a:r>
              <a:rPr lang="en-US" altLang="ja-JP"/>
              <a:t>Second level</a:t>
            </a:r>
          </a:p>
          <a:p>
            <a:pPr lvl="2"/>
            <a:r>
              <a:rPr lang="en-US" altLang="ja-JP"/>
              <a:t>Third level</a:t>
            </a:r>
          </a:p>
          <a:p>
            <a:pPr lvl="3"/>
            <a:r>
              <a:rPr lang="en-US" altLang="ja-JP"/>
              <a:t>Fourth level</a:t>
            </a:r>
          </a:p>
          <a:p>
            <a:pPr lvl="4"/>
            <a:r>
              <a:rPr lang="en-US" altLang="ja-JP"/>
              <a:t>Fifth level</a:t>
            </a:r>
            <a:endParaRPr lang="en-GB" dirty="0"/>
          </a:p>
        </p:txBody>
      </p:sp>
      <p:sp>
        <p:nvSpPr>
          <p:cNvPr id="13" name="Heading Middle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87455" y="1337514"/>
            <a:ext cx="7612799" cy="369332"/>
          </a:xfrm>
        </p:spPr>
        <p:txBody>
          <a:bodyPr wrap="square" lIns="0" tIns="0" rIns="0" bIns="0"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200" b="1">
                <a:solidFill>
                  <a:schemeClr val="accent1"/>
                </a:solidFill>
                <a:latin typeface="+mn-lt"/>
                <a:sym typeface="+mn-lt"/>
              </a:defRPr>
            </a:lvl1pPr>
            <a:lvl2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200" b="0" baseline="0">
                <a:solidFill>
                  <a:schemeClr val="accent1"/>
                </a:solidFill>
                <a:latin typeface="+mn-lt"/>
                <a:sym typeface="+mn-lt"/>
              </a:defRPr>
            </a:lvl2pPr>
          </a:lstStyle>
          <a:p>
            <a:pPr lvl="0"/>
            <a:r>
              <a:rPr lang="en-US" dirty="0"/>
              <a:t>Heading 12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2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7" name="Content"/>
          <p:cNvSpPr>
            <a:spLocks noGrp="1"/>
          </p:cNvSpPr>
          <p:nvPr>
            <p:ph idx="10" hasCustomPrompt="1"/>
          </p:nvPr>
        </p:nvSpPr>
        <p:spPr bwMode="gray">
          <a:xfrm>
            <a:off x="287453" y="6046048"/>
            <a:ext cx="11625600" cy="123111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en-US" sz="800" dirty="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/>
            </a:lvl6pPr>
            <a:lvl7pPr fontAlgn="base">
              <a:lnSpc>
                <a:spcPct val="100000"/>
              </a:lnSpc>
              <a:spcAft>
                <a:spcPts val="0"/>
              </a:spcAft>
              <a:defRPr/>
            </a:lvl7pPr>
            <a:lvl8pPr fontAlgn="base">
              <a:lnSpc>
                <a:spcPct val="100000"/>
              </a:lnSpc>
              <a:spcAft>
                <a:spcPts val="0"/>
              </a:spcAft>
              <a:defRPr/>
            </a:lvl8pPr>
            <a:lvl9pPr fontAlgn="base">
              <a:lnSpc>
                <a:spcPct val="100000"/>
              </a:lnSpc>
              <a:spcAft>
                <a:spcPts val="0"/>
              </a:spcAft>
              <a:defRPr/>
            </a:lvl9pPr>
          </a:lstStyle>
          <a:p>
            <a:pPr lvl="0"/>
            <a:r>
              <a:rPr lang="en-GB" dirty="0"/>
              <a:t>Source: </a:t>
            </a:r>
          </a:p>
        </p:txBody>
      </p:sp>
    </p:spTree>
    <p:extLst>
      <p:ext uri="{BB962C8B-B14F-4D97-AF65-F5344CB8AC3E}">
        <p14:creationId xmlns:p14="http://schemas.microsoft.com/office/powerpoint/2010/main" val="1840228049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01287954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Gray Bar_Content+Table/Chart/Fig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3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/>
          <p:cNvSpPr/>
          <p:nvPr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800" dirty="0">
              <a:solidFill>
                <a:srgbClr val="555759"/>
              </a:solidFill>
              <a:latin typeface="Palatino Linotype" pitchFamily="18" charset="0"/>
            </a:endParaRPr>
          </a:p>
        </p:txBody>
      </p:sp>
      <p:cxnSp>
        <p:nvCxnSpPr>
          <p:cNvPr id="5" name="Straight Connector 4"/>
          <p:cNvCxnSpPr/>
          <p:nvPr/>
        </p:nvCxnSpPr>
        <p:spPr>
          <a:xfrm>
            <a:off x="304802" y="6250077"/>
            <a:ext cx="11592985" cy="0"/>
          </a:xfrm>
          <a:prstGeom prst="line">
            <a:avLst/>
          </a:prstGeom>
          <a:ln w="9525">
            <a:solidFill>
              <a:srgbClr val="555759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Text Placeholder 18"/>
          <p:cNvSpPr txBox="1">
            <a:spLocks/>
          </p:cNvSpPr>
          <p:nvPr userDrawn="1"/>
        </p:nvSpPr>
        <p:spPr>
          <a:xfrm>
            <a:off x="85344" y="6365442"/>
            <a:ext cx="585216" cy="231169"/>
          </a:xfrm>
          <a:prstGeom prst="rect">
            <a:avLst/>
          </a:prstGeom>
        </p:spPr>
        <p:txBody>
          <a:bodyPr vert="horz"/>
          <a:lstStyle>
            <a:lvl1pPr marL="0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 baseline="0">
                <a:solidFill>
                  <a:srgbClr val="898C8F"/>
                </a:solidFill>
                <a:latin typeface="+mj-lt"/>
                <a:ea typeface="+mn-ea"/>
                <a:cs typeface="+mn-cs"/>
              </a:defRPr>
            </a:lvl1pPr>
            <a:lvl2pPr marL="457178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2pPr>
            <a:lvl3pPr marL="914354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3pPr>
            <a:lvl4pPr marL="1371532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4pPr>
            <a:lvl5pPr marL="1828709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5pPr>
            <a:lvl6pPr marL="21748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6pPr>
            <a:lvl7pPr marL="26320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7pPr>
            <a:lvl8pPr marL="30892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8pPr>
            <a:lvl9pPr marL="35464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648C1A"/>
              </a:buClr>
            </a:pPr>
            <a:fld id="{C0D4A90D-707C-4CFA-8F87-17CF45DE2B45}" type="slidenum">
              <a:rPr sz="900" smtClean="0">
                <a:solidFill>
                  <a:srgbClr val="95D600"/>
                </a:solidFill>
              </a:rPr>
              <a:pPr>
                <a:buClr>
                  <a:srgbClr val="648C1A"/>
                </a:buClr>
              </a:pPr>
              <a:t>‹#›</a:t>
            </a:fld>
            <a:endParaRPr sz="900" dirty="0"/>
          </a:p>
        </p:txBody>
      </p:sp>
      <p:cxnSp>
        <p:nvCxnSpPr>
          <p:cNvPr id="7" name="Straight Connector 6"/>
          <p:cNvCxnSpPr/>
          <p:nvPr/>
        </p:nvCxnSpPr>
        <p:spPr bwMode="auto">
          <a:xfrm flipH="1">
            <a:off x="0" y="6302465"/>
            <a:ext cx="12192000" cy="0"/>
          </a:xfrm>
          <a:prstGeom prst="line">
            <a:avLst/>
          </a:prstGeom>
          <a:solidFill>
            <a:schemeClr val="accent1"/>
          </a:solidFill>
          <a:ln w="19050" cap="flat" cmpd="dbl" algn="ctr">
            <a:noFill/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0" name="Rectangle 9"/>
          <p:cNvSpPr/>
          <p:nvPr/>
        </p:nvSpPr>
        <p:spPr bwMode="auto">
          <a:xfrm>
            <a:off x="0" y="0"/>
            <a:ext cx="12192000" cy="1074396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800" dirty="0">
              <a:solidFill>
                <a:srgbClr val="555759"/>
              </a:solidFill>
              <a:latin typeface="Palatino Linotype" pitchFamily="18" charset="0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287453" y="1"/>
            <a:ext cx="11623035" cy="1011420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Rectangle 11"/>
          <p:cNvSpPr/>
          <p:nvPr/>
        </p:nvSpPr>
        <p:spPr bwMode="auto">
          <a:xfrm>
            <a:off x="0" y="1074396"/>
            <a:ext cx="12192000" cy="151354"/>
          </a:xfrm>
          <a:prstGeom prst="rect">
            <a:avLst/>
          </a:prstGeom>
          <a:solidFill>
            <a:schemeClr val="accent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800" dirty="0">
              <a:solidFill>
                <a:srgbClr val="555759"/>
              </a:solidFill>
              <a:latin typeface="Palatino Linotype" pitchFamily="18" charset="0"/>
            </a:endParaRPr>
          </a:p>
        </p:txBody>
      </p:sp>
      <p:sp>
        <p:nvSpPr>
          <p:cNvPr id="13" name="Rectangle 14"/>
          <p:cNvSpPr>
            <a:spLocks noGrp="1" noChangeArrowheads="1"/>
          </p:cNvSpPr>
          <p:nvPr>
            <p:ph idx="1"/>
          </p:nvPr>
        </p:nvSpPr>
        <p:spPr bwMode="auto">
          <a:xfrm>
            <a:off x="287453" y="1403684"/>
            <a:ext cx="11623035" cy="113385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10" hasCustomPrompt="1"/>
          </p:nvPr>
        </p:nvSpPr>
        <p:spPr>
          <a:xfrm>
            <a:off x="2075104" y="2627336"/>
            <a:ext cx="8056033" cy="431800"/>
          </a:xfrm>
        </p:spPr>
        <p:txBody>
          <a:bodyPr anchor="ctr"/>
          <a:lstStyle>
            <a:lvl1pPr marL="0" indent="0" algn="ctr">
              <a:buNone/>
              <a:defRPr sz="1600" b="1" baseline="0"/>
            </a:lvl1pPr>
          </a:lstStyle>
          <a:p>
            <a:pPr lvl="0"/>
            <a:r>
              <a:rPr lang="en-US" b="1" dirty="0"/>
              <a:t>Insert Table/Chart/Figure Title</a:t>
            </a:r>
            <a:endParaRPr lang="en-US" dirty="0"/>
          </a:p>
        </p:txBody>
      </p:sp>
      <p:sp>
        <p:nvSpPr>
          <p:cNvPr id="15" name="Content Placeholder 14"/>
          <p:cNvSpPr>
            <a:spLocks noGrp="1"/>
          </p:cNvSpPr>
          <p:nvPr>
            <p:ph sz="quarter" idx="11"/>
          </p:nvPr>
        </p:nvSpPr>
        <p:spPr>
          <a:xfrm>
            <a:off x="2854257" y="3148933"/>
            <a:ext cx="6470185" cy="2668917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ext Placeholder 16"/>
          <p:cNvSpPr>
            <a:spLocks noGrp="1"/>
          </p:cNvSpPr>
          <p:nvPr>
            <p:ph type="body" sz="quarter" idx="12" hasCustomPrompt="1"/>
          </p:nvPr>
        </p:nvSpPr>
        <p:spPr>
          <a:xfrm>
            <a:off x="2998603" y="5870237"/>
            <a:ext cx="2400300" cy="219075"/>
          </a:xfrm>
        </p:spPr>
        <p:txBody>
          <a:bodyPr anchor="ctr"/>
          <a:lstStyle>
            <a:lvl1pPr marL="0" indent="0">
              <a:buNone/>
              <a:defRPr sz="800" i="1" baseline="0">
                <a:solidFill>
                  <a:schemeClr val="accent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US" sz="800" i="1" dirty="0"/>
              <a:t>Insert source</a:t>
            </a:r>
            <a:endParaRPr lang="en-US" dirty="0"/>
          </a:p>
        </p:txBody>
      </p:sp>
      <p:sp>
        <p:nvSpPr>
          <p:cNvPr id="17" name="Text Placeholder 18"/>
          <p:cNvSpPr txBox="1">
            <a:spLocks/>
          </p:cNvSpPr>
          <p:nvPr userDrawn="1"/>
        </p:nvSpPr>
        <p:spPr>
          <a:xfrm>
            <a:off x="412682" y="6370117"/>
            <a:ext cx="7770501" cy="205345"/>
          </a:xfrm>
          <a:prstGeom prst="rect">
            <a:avLst/>
          </a:prstGeom>
        </p:spPr>
        <p:txBody>
          <a:bodyPr vert="horz"/>
          <a:lstStyle>
            <a:lvl1pPr marL="0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 baseline="0">
                <a:solidFill>
                  <a:srgbClr val="898C8F"/>
                </a:solidFill>
                <a:latin typeface="+mj-lt"/>
                <a:ea typeface="+mn-ea"/>
                <a:cs typeface="+mn-cs"/>
              </a:defRPr>
            </a:lvl1pPr>
            <a:lvl2pPr marL="457178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2pPr>
            <a:lvl3pPr marL="914354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3pPr>
            <a:lvl4pPr marL="1371532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4pPr>
            <a:lvl5pPr marL="1828709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5pPr>
            <a:lvl6pPr marL="21748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6pPr>
            <a:lvl7pPr marL="26320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7pPr>
            <a:lvl8pPr marL="30892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8pPr>
            <a:lvl9pPr marL="35464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648C1A"/>
              </a:buClr>
            </a:pPr>
            <a:r>
              <a:rPr sz="900" dirty="0">
                <a:solidFill>
                  <a:srgbClr val="648C1A">
                    <a:lumMod val="60000"/>
                    <a:lumOff val="40000"/>
                  </a:srgbClr>
                </a:solidFill>
              </a:rPr>
              <a:t>/ ©ECOFYS, A </a:t>
            </a:r>
            <a:r>
              <a:rPr lang="en-US" sz="900" dirty="0">
                <a:solidFill>
                  <a:srgbClr val="648C1A">
                    <a:lumMod val="60000"/>
                    <a:lumOff val="40000"/>
                  </a:srgbClr>
                </a:solidFill>
              </a:rPr>
              <a:t>Navigant – A </a:t>
            </a:r>
            <a:r>
              <a:rPr lang="en-US" sz="900" dirty="0" err="1">
                <a:solidFill>
                  <a:srgbClr val="648C1A">
                    <a:lumMod val="60000"/>
                    <a:lumOff val="40000"/>
                  </a:srgbClr>
                </a:solidFill>
              </a:rPr>
              <a:t>Guidehouse</a:t>
            </a:r>
            <a:r>
              <a:rPr lang="en-US" sz="900" dirty="0">
                <a:solidFill>
                  <a:srgbClr val="648C1A">
                    <a:lumMod val="60000"/>
                    <a:lumOff val="40000"/>
                  </a:srgbClr>
                </a:solidFill>
              </a:rPr>
              <a:t> Company</a:t>
            </a:r>
            <a:r>
              <a:rPr sz="900" dirty="0">
                <a:solidFill>
                  <a:srgbClr val="648C1A">
                    <a:lumMod val="60000"/>
                    <a:lumOff val="40000"/>
                  </a:srgbClr>
                </a:solidFill>
              </a:rPr>
              <a:t> Company. All rights Reserved</a:t>
            </a:r>
          </a:p>
        </p:txBody>
      </p:sp>
      <p:pic>
        <p:nvPicPr>
          <p:cNvPr id="18" name="Picture 13" descr="Mission_Statement_RGB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71520" y="6418194"/>
            <a:ext cx="2726267" cy="123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877001773"/>
      </p:ext>
    </p:extLst>
  </p:cSld>
  <p:clrMapOvr>
    <a:masterClrMapping/>
  </p:clrMapOvr>
  <p:hf sldNum="0" hdr="0" dt="0"/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Only_Gray 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6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/>
          <p:cNvSpPr/>
          <p:nvPr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800" dirty="0">
              <a:solidFill>
                <a:srgbClr val="555759"/>
              </a:solidFill>
              <a:latin typeface="Palatino Linotype" pitchFamily="18" charset="0"/>
            </a:endParaRPr>
          </a:p>
        </p:txBody>
      </p:sp>
      <p:sp>
        <p:nvSpPr>
          <p:cNvPr id="4" name="Text Placeholder 18"/>
          <p:cNvSpPr txBox="1">
            <a:spLocks/>
          </p:cNvSpPr>
          <p:nvPr/>
        </p:nvSpPr>
        <p:spPr>
          <a:xfrm>
            <a:off x="412682" y="6370117"/>
            <a:ext cx="7770501" cy="205345"/>
          </a:xfrm>
          <a:prstGeom prst="rect">
            <a:avLst/>
          </a:prstGeom>
        </p:spPr>
        <p:txBody>
          <a:bodyPr vert="horz"/>
          <a:lstStyle>
            <a:lvl1pPr marL="0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 baseline="0">
                <a:solidFill>
                  <a:srgbClr val="898C8F"/>
                </a:solidFill>
                <a:latin typeface="+mj-lt"/>
                <a:ea typeface="+mn-ea"/>
                <a:cs typeface="+mn-cs"/>
              </a:defRPr>
            </a:lvl1pPr>
            <a:lvl2pPr marL="457178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2pPr>
            <a:lvl3pPr marL="914354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3pPr>
            <a:lvl4pPr marL="1371532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4pPr>
            <a:lvl5pPr marL="1828709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5pPr>
            <a:lvl6pPr marL="21748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6pPr>
            <a:lvl7pPr marL="26320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7pPr>
            <a:lvl8pPr marL="30892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8pPr>
            <a:lvl9pPr marL="35464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648C1A"/>
              </a:buClr>
            </a:pPr>
            <a:r>
              <a:rPr sz="900" dirty="0">
                <a:solidFill>
                  <a:srgbClr val="648C1A">
                    <a:lumMod val="60000"/>
                    <a:lumOff val="40000"/>
                  </a:srgbClr>
                </a:solidFill>
              </a:rPr>
              <a:t>/ ©2016 </a:t>
            </a:r>
            <a:r>
              <a:rPr lang="en-US" sz="900" dirty="0">
                <a:solidFill>
                  <a:srgbClr val="648C1A">
                    <a:lumMod val="60000"/>
                    <a:lumOff val="40000"/>
                  </a:srgbClr>
                </a:solidFill>
              </a:rPr>
              <a:t>Navigant – A </a:t>
            </a:r>
            <a:r>
              <a:rPr lang="en-US" sz="900" dirty="0" err="1">
                <a:solidFill>
                  <a:srgbClr val="648C1A">
                    <a:lumMod val="60000"/>
                    <a:lumOff val="40000"/>
                  </a:srgbClr>
                </a:solidFill>
              </a:rPr>
              <a:t>Guidehouse</a:t>
            </a:r>
            <a:r>
              <a:rPr lang="en-US" sz="900" dirty="0">
                <a:solidFill>
                  <a:srgbClr val="648C1A">
                    <a:lumMod val="60000"/>
                    <a:lumOff val="40000"/>
                  </a:srgbClr>
                </a:solidFill>
              </a:rPr>
              <a:t> Company</a:t>
            </a:r>
            <a:r>
              <a:rPr sz="900" dirty="0">
                <a:solidFill>
                  <a:srgbClr val="648C1A">
                    <a:lumMod val="60000"/>
                    <a:lumOff val="40000"/>
                  </a:srgbClr>
                </a:solidFill>
              </a:rPr>
              <a:t> Consulting, Inc. All rights Reserved</a:t>
            </a:r>
          </a:p>
        </p:txBody>
      </p:sp>
      <p:cxnSp>
        <p:nvCxnSpPr>
          <p:cNvPr id="5" name="Straight Connector 4"/>
          <p:cNvCxnSpPr/>
          <p:nvPr/>
        </p:nvCxnSpPr>
        <p:spPr>
          <a:xfrm>
            <a:off x="304802" y="6250077"/>
            <a:ext cx="11592985" cy="0"/>
          </a:xfrm>
          <a:prstGeom prst="line">
            <a:avLst/>
          </a:prstGeom>
          <a:ln w="9525">
            <a:solidFill>
              <a:srgbClr val="555759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Text Placeholder 18"/>
          <p:cNvSpPr txBox="1">
            <a:spLocks/>
          </p:cNvSpPr>
          <p:nvPr/>
        </p:nvSpPr>
        <p:spPr>
          <a:xfrm>
            <a:off x="85344" y="6365442"/>
            <a:ext cx="585216" cy="231169"/>
          </a:xfrm>
          <a:prstGeom prst="rect">
            <a:avLst/>
          </a:prstGeom>
        </p:spPr>
        <p:txBody>
          <a:bodyPr vert="horz"/>
          <a:lstStyle>
            <a:lvl1pPr marL="0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 baseline="0">
                <a:solidFill>
                  <a:srgbClr val="898C8F"/>
                </a:solidFill>
                <a:latin typeface="+mj-lt"/>
                <a:ea typeface="+mn-ea"/>
                <a:cs typeface="+mn-cs"/>
              </a:defRPr>
            </a:lvl1pPr>
            <a:lvl2pPr marL="457178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2pPr>
            <a:lvl3pPr marL="914354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3pPr>
            <a:lvl4pPr marL="1371532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4pPr>
            <a:lvl5pPr marL="1828709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5pPr>
            <a:lvl6pPr marL="21748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6pPr>
            <a:lvl7pPr marL="26320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7pPr>
            <a:lvl8pPr marL="30892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8pPr>
            <a:lvl9pPr marL="35464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648C1A"/>
              </a:buClr>
            </a:pPr>
            <a:fld id="{C0D4A90D-707C-4CFA-8F87-17CF45DE2B45}" type="slidenum">
              <a:rPr sz="900" smtClean="0">
                <a:solidFill>
                  <a:srgbClr val="95D600"/>
                </a:solidFill>
              </a:rPr>
              <a:pPr>
                <a:buClr>
                  <a:srgbClr val="648C1A"/>
                </a:buClr>
              </a:pPr>
              <a:t>‹#›</a:t>
            </a:fld>
            <a:endParaRPr sz="900" dirty="0"/>
          </a:p>
        </p:txBody>
      </p:sp>
      <p:cxnSp>
        <p:nvCxnSpPr>
          <p:cNvPr id="7" name="Straight Connector 6"/>
          <p:cNvCxnSpPr/>
          <p:nvPr/>
        </p:nvCxnSpPr>
        <p:spPr bwMode="auto">
          <a:xfrm flipH="1">
            <a:off x="0" y="6302465"/>
            <a:ext cx="12192000" cy="0"/>
          </a:xfrm>
          <a:prstGeom prst="line">
            <a:avLst/>
          </a:prstGeom>
          <a:solidFill>
            <a:schemeClr val="accent1"/>
          </a:solidFill>
          <a:ln w="19050" cap="flat" cmpd="dbl" algn="ctr">
            <a:noFill/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8" name="Picture 7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07280" y="6400190"/>
            <a:ext cx="1303209" cy="168518"/>
          </a:xfrm>
          <a:prstGeom prst="rect">
            <a:avLst/>
          </a:prstGeom>
        </p:spPr>
      </p:pic>
      <p:sp>
        <p:nvSpPr>
          <p:cNvPr id="10" name="Rectangle 9"/>
          <p:cNvSpPr/>
          <p:nvPr/>
        </p:nvSpPr>
        <p:spPr bwMode="auto">
          <a:xfrm>
            <a:off x="0" y="0"/>
            <a:ext cx="12192000" cy="1074396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800" dirty="0">
              <a:solidFill>
                <a:srgbClr val="555759"/>
              </a:solidFill>
              <a:latin typeface="Palatino Linotype" pitchFamily="18" charset="0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287453" y="1"/>
            <a:ext cx="11623035" cy="1011420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Rectangle 11"/>
          <p:cNvSpPr/>
          <p:nvPr/>
        </p:nvSpPr>
        <p:spPr bwMode="auto">
          <a:xfrm>
            <a:off x="0" y="1074396"/>
            <a:ext cx="12192000" cy="151354"/>
          </a:xfrm>
          <a:prstGeom prst="rect">
            <a:avLst/>
          </a:prstGeom>
          <a:solidFill>
            <a:schemeClr val="accent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800" dirty="0">
              <a:solidFill>
                <a:srgbClr val="555759"/>
              </a:solidFill>
              <a:latin typeface="Palatino Linotype" pitchFamily="18" charset="0"/>
            </a:endParaRPr>
          </a:p>
        </p:txBody>
      </p:sp>
      <p:sp>
        <p:nvSpPr>
          <p:cNvPr id="13" name="Rectangle 12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800" dirty="0">
              <a:solidFill>
                <a:srgbClr val="555759"/>
              </a:solidFill>
              <a:latin typeface="Palatino Linotype" pitchFamily="18" charset="0"/>
            </a:endParaRPr>
          </a:p>
        </p:txBody>
      </p:sp>
      <p:cxnSp>
        <p:nvCxnSpPr>
          <p:cNvPr id="15" name="Straight Connector 14"/>
          <p:cNvCxnSpPr/>
          <p:nvPr userDrawn="1"/>
        </p:nvCxnSpPr>
        <p:spPr>
          <a:xfrm>
            <a:off x="304802" y="6250077"/>
            <a:ext cx="11592985" cy="0"/>
          </a:xfrm>
          <a:prstGeom prst="line">
            <a:avLst/>
          </a:prstGeom>
          <a:ln w="9525">
            <a:solidFill>
              <a:srgbClr val="555759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6" name="Text Placeholder 18"/>
          <p:cNvSpPr txBox="1">
            <a:spLocks/>
          </p:cNvSpPr>
          <p:nvPr userDrawn="1"/>
        </p:nvSpPr>
        <p:spPr>
          <a:xfrm>
            <a:off x="182020" y="6365442"/>
            <a:ext cx="478315" cy="231169"/>
          </a:xfrm>
          <a:prstGeom prst="rect">
            <a:avLst/>
          </a:prstGeom>
        </p:spPr>
        <p:txBody>
          <a:bodyPr vert="horz"/>
          <a:lstStyle>
            <a:lvl1pPr marL="0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 baseline="0">
                <a:solidFill>
                  <a:srgbClr val="898C8F"/>
                </a:solidFill>
                <a:latin typeface="+mj-lt"/>
                <a:ea typeface="+mn-ea"/>
                <a:cs typeface="+mn-cs"/>
              </a:defRPr>
            </a:lvl1pPr>
            <a:lvl2pPr marL="457178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2pPr>
            <a:lvl3pPr marL="914354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3pPr>
            <a:lvl4pPr marL="1371532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4pPr>
            <a:lvl5pPr marL="1828709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5pPr>
            <a:lvl6pPr marL="21748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6pPr>
            <a:lvl7pPr marL="26320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7pPr>
            <a:lvl8pPr marL="30892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8pPr>
            <a:lvl9pPr marL="35464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648C1A"/>
              </a:buClr>
            </a:pPr>
            <a:fld id="{C0D4A90D-707C-4CFA-8F87-17CF45DE2B45}" type="slidenum">
              <a:rPr sz="900" smtClean="0">
                <a:solidFill>
                  <a:srgbClr val="95D600"/>
                </a:solidFill>
              </a:rPr>
              <a:pPr>
                <a:buClr>
                  <a:srgbClr val="648C1A"/>
                </a:buClr>
              </a:pPr>
              <a:t>‹#›</a:t>
            </a:fld>
            <a:endParaRPr sz="900" dirty="0"/>
          </a:p>
        </p:txBody>
      </p:sp>
      <p:cxnSp>
        <p:nvCxnSpPr>
          <p:cNvPr id="17" name="Straight Connector 16"/>
          <p:cNvCxnSpPr/>
          <p:nvPr userDrawn="1"/>
        </p:nvCxnSpPr>
        <p:spPr bwMode="auto">
          <a:xfrm flipH="1">
            <a:off x="0" y="6302465"/>
            <a:ext cx="12192000" cy="0"/>
          </a:xfrm>
          <a:prstGeom prst="line">
            <a:avLst/>
          </a:prstGeom>
          <a:solidFill>
            <a:schemeClr val="accent1"/>
          </a:solidFill>
          <a:ln w="19050" cap="flat" cmpd="dbl" algn="ctr">
            <a:noFill/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9" name="Rectangle 18"/>
          <p:cNvSpPr/>
          <p:nvPr userDrawn="1"/>
        </p:nvSpPr>
        <p:spPr bwMode="auto">
          <a:xfrm>
            <a:off x="0" y="0"/>
            <a:ext cx="12192000" cy="1074396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800" dirty="0">
              <a:solidFill>
                <a:srgbClr val="555759"/>
              </a:solidFill>
              <a:latin typeface="Palatino Linotype" pitchFamily="18" charset="0"/>
            </a:endParaRPr>
          </a:p>
        </p:txBody>
      </p:sp>
      <p:sp>
        <p:nvSpPr>
          <p:cNvPr id="20" name="Rectangle 19"/>
          <p:cNvSpPr/>
          <p:nvPr userDrawn="1"/>
        </p:nvSpPr>
        <p:spPr bwMode="auto">
          <a:xfrm>
            <a:off x="0" y="1074396"/>
            <a:ext cx="12192000" cy="151354"/>
          </a:xfrm>
          <a:prstGeom prst="rect">
            <a:avLst/>
          </a:prstGeom>
          <a:solidFill>
            <a:schemeClr val="accent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800" dirty="0">
              <a:solidFill>
                <a:srgbClr val="555759"/>
              </a:solidFill>
              <a:latin typeface="Palatino Linotype" pitchFamily="18" charset="0"/>
            </a:endParaRPr>
          </a:p>
        </p:txBody>
      </p:sp>
      <p:sp>
        <p:nvSpPr>
          <p:cNvPr id="21" name="Text Placeholder 18"/>
          <p:cNvSpPr txBox="1">
            <a:spLocks/>
          </p:cNvSpPr>
          <p:nvPr userDrawn="1"/>
        </p:nvSpPr>
        <p:spPr>
          <a:xfrm>
            <a:off x="412682" y="6370117"/>
            <a:ext cx="7770501" cy="205345"/>
          </a:xfrm>
          <a:prstGeom prst="rect">
            <a:avLst/>
          </a:prstGeom>
        </p:spPr>
        <p:txBody>
          <a:bodyPr vert="horz"/>
          <a:lstStyle>
            <a:lvl1pPr marL="0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 baseline="0">
                <a:solidFill>
                  <a:srgbClr val="898C8F"/>
                </a:solidFill>
                <a:latin typeface="+mj-lt"/>
                <a:ea typeface="+mn-ea"/>
                <a:cs typeface="+mn-cs"/>
              </a:defRPr>
            </a:lvl1pPr>
            <a:lvl2pPr marL="457178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2pPr>
            <a:lvl3pPr marL="914354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3pPr>
            <a:lvl4pPr marL="1371532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4pPr>
            <a:lvl5pPr marL="1828709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5pPr>
            <a:lvl6pPr marL="21748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6pPr>
            <a:lvl7pPr marL="26320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7pPr>
            <a:lvl8pPr marL="30892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8pPr>
            <a:lvl9pPr marL="35464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648C1A"/>
              </a:buClr>
            </a:pPr>
            <a:r>
              <a:rPr sz="900" dirty="0">
                <a:solidFill>
                  <a:srgbClr val="648C1A">
                    <a:lumMod val="60000"/>
                    <a:lumOff val="40000"/>
                  </a:srgbClr>
                </a:solidFill>
              </a:rPr>
              <a:t>/ ©ECOFYS, A </a:t>
            </a:r>
            <a:r>
              <a:rPr lang="en-US" sz="900" dirty="0">
                <a:solidFill>
                  <a:srgbClr val="648C1A">
                    <a:lumMod val="60000"/>
                    <a:lumOff val="40000"/>
                  </a:srgbClr>
                </a:solidFill>
              </a:rPr>
              <a:t>Navigant – A </a:t>
            </a:r>
            <a:r>
              <a:rPr lang="en-US" sz="900" dirty="0" err="1">
                <a:solidFill>
                  <a:srgbClr val="648C1A">
                    <a:lumMod val="60000"/>
                    <a:lumOff val="40000"/>
                  </a:srgbClr>
                </a:solidFill>
              </a:rPr>
              <a:t>Guidehouse</a:t>
            </a:r>
            <a:r>
              <a:rPr lang="en-US" sz="900" dirty="0">
                <a:solidFill>
                  <a:srgbClr val="648C1A">
                    <a:lumMod val="60000"/>
                    <a:lumOff val="40000"/>
                  </a:srgbClr>
                </a:solidFill>
              </a:rPr>
              <a:t> Company</a:t>
            </a:r>
            <a:r>
              <a:rPr sz="900" dirty="0">
                <a:solidFill>
                  <a:srgbClr val="648C1A">
                    <a:lumMod val="60000"/>
                    <a:lumOff val="40000"/>
                  </a:srgbClr>
                </a:solidFill>
              </a:rPr>
              <a:t> Company. All rights Reserved</a:t>
            </a:r>
          </a:p>
        </p:txBody>
      </p:sp>
      <p:pic>
        <p:nvPicPr>
          <p:cNvPr id="22" name="Picture 13" descr="Mission_Statement_RGB"/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71520" y="6418194"/>
            <a:ext cx="2726267" cy="123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71720211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_Gray 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Palatino Linotype" pitchFamily="18" charset="0"/>
            </a:endParaRPr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304802" y="6250077"/>
            <a:ext cx="11592985" cy="0"/>
          </a:xfrm>
          <a:prstGeom prst="line">
            <a:avLst/>
          </a:prstGeom>
          <a:ln w="9525">
            <a:solidFill>
              <a:srgbClr val="555759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Text Placeholder 18"/>
          <p:cNvSpPr txBox="1">
            <a:spLocks/>
          </p:cNvSpPr>
          <p:nvPr userDrawn="1"/>
        </p:nvSpPr>
        <p:spPr>
          <a:xfrm>
            <a:off x="182020" y="6365442"/>
            <a:ext cx="478315" cy="231169"/>
          </a:xfrm>
          <a:prstGeom prst="rect">
            <a:avLst/>
          </a:prstGeom>
        </p:spPr>
        <p:txBody>
          <a:bodyPr vert="horz"/>
          <a:lstStyle>
            <a:lvl1pPr marL="0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 baseline="0">
                <a:solidFill>
                  <a:srgbClr val="898C8F"/>
                </a:solidFill>
                <a:latin typeface="+mj-lt"/>
                <a:ea typeface="+mn-ea"/>
                <a:cs typeface="+mn-cs"/>
              </a:defRPr>
            </a:lvl1pPr>
            <a:lvl2pPr marL="457178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2pPr>
            <a:lvl3pPr marL="914354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3pPr>
            <a:lvl4pPr marL="1371532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4pPr>
            <a:lvl5pPr marL="1828709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5pPr>
            <a:lvl6pPr marL="21748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6pPr>
            <a:lvl7pPr marL="26320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7pPr>
            <a:lvl8pPr marL="30892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8pPr>
            <a:lvl9pPr marL="35464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l"/>
            <a:fld id="{C0D4A90D-707C-4CFA-8F87-17CF45DE2B45}" type="slidenum">
              <a:rPr lang="en-US" sz="900" smtClean="0">
                <a:solidFill>
                  <a:srgbClr val="95D600"/>
                </a:solidFill>
              </a:rPr>
              <a:pPr algn="l"/>
              <a:t>‹#›</a:t>
            </a:fld>
            <a:endParaRPr lang="en-US" sz="900" dirty="0"/>
          </a:p>
        </p:txBody>
      </p:sp>
      <p:cxnSp>
        <p:nvCxnSpPr>
          <p:cNvPr id="7" name="Straight Connector 6"/>
          <p:cNvCxnSpPr/>
          <p:nvPr userDrawn="1"/>
        </p:nvCxnSpPr>
        <p:spPr bwMode="auto">
          <a:xfrm flipH="1">
            <a:off x="0" y="6302465"/>
            <a:ext cx="12192000" cy="0"/>
          </a:xfrm>
          <a:prstGeom prst="line">
            <a:avLst/>
          </a:prstGeom>
          <a:solidFill>
            <a:schemeClr val="accent1"/>
          </a:solidFill>
          <a:ln w="19050" cap="flat" cmpd="dbl" algn="ctr">
            <a:noFill/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0" name="Rectangle 9"/>
          <p:cNvSpPr/>
          <p:nvPr userDrawn="1"/>
        </p:nvSpPr>
        <p:spPr bwMode="auto">
          <a:xfrm>
            <a:off x="0" y="0"/>
            <a:ext cx="12192000" cy="1074396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Palatino Linotype" pitchFamily="18" charset="0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287453" y="1"/>
            <a:ext cx="11623035" cy="1011420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Rectangle 11"/>
          <p:cNvSpPr/>
          <p:nvPr userDrawn="1"/>
        </p:nvSpPr>
        <p:spPr bwMode="auto">
          <a:xfrm>
            <a:off x="0" y="1074396"/>
            <a:ext cx="12192000" cy="151354"/>
          </a:xfrm>
          <a:prstGeom prst="rect">
            <a:avLst/>
          </a:prstGeom>
          <a:solidFill>
            <a:schemeClr val="accent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Palatino Linotype" pitchFamily="18" charset="0"/>
            </a:endParaRPr>
          </a:p>
        </p:txBody>
      </p:sp>
      <p:sp>
        <p:nvSpPr>
          <p:cNvPr id="13" name="Text Placeholder 18"/>
          <p:cNvSpPr txBox="1">
            <a:spLocks/>
          </p:cNvSpPr>
          <p:nvPr userDrawn="1"/>
        </p:nvSpPr>
        <p:spPr>
          <a:xfrm>
            <a:off x="412682" y="6370117"/>
            <a:ext cx="7770501" cy="205345"/>
          </a:xfrm>
          <a:prstGeom prst="rect">
            <a:avLst/>
          </a:prstGeom>
        </p:spPr>
        <p:txBody>
          <a:bodyPr vert="horz"/>
          <a:lstStyle>
            <a:lvl1pPr marL="0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 baseline="0">
                <a:solidFill>
                  <a:srgbClr val="898C8F"/>
                </a:solidFill>
                <a:latin typeface="+mj-lt"/>
                <a:ea typeface="+mn-ea"/>
                <a:cs typeface="+mn-cs"/>
              </a:defRPr>
            </a:lvl1pPr>
            <a:lvl2pPr marL="457178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2pPr>
            <a:lvl3pPr marL="914354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3pPr>
            <a:lvl4pPr marL="1371532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4pPr>
            <a:lvl5pPr marL="1828709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5pPr>
            <a:lvl6pPr marL="21748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6pPr>
            <a:lvl7pPr marL="26320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7pPr>
            <a:lvl8pPr marL="30892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8pPr>
            <a:lvl9pPr marL="35464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 sz="900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/ </a:t>
            </a:r>
            <a:r>
              <a:rPr lang="en-US" sz="900" kern="1200" cap="all" normalizeH="0" baseline="0" dirty="0">
                <a:solidFill>
                  <a:schemeClr val="accent1">
                    <a:lumMod val="60000"/>
                    <a:lumOff val="40000"/>
                  </a:schemeClr>
                </a:solidFill>
                <a:latin typeface="+mj-lt"/>
                <a:ea typeface="+mn-ea"/>
                <a:cs typeface="+mn-cs"/>
              </a:rPr>
              <a:t>©ECOFYS, A Navigant – A </a:t>
            </a:r>
            <a:r>
              <a:rPr lang="en-US" sz="900" kern="1200" cap="all" normalizeH="0" baseline="0" dirty="0" err="1">
                <a:solidFill>
                  <a:schemeClr val="accent1">
                    <a:lumMod val="60000"/>
                    <a:lumOff val="40000"/>
                  </a:schemeClr>
                </a:solidFill>
                <a:latin typeface="+mj-lt"/>
                <a:ea typeface="+mn-ea"/>
                <a:cs typeface="+mn-cs"/>
              </a:rPr>
              <a:t>Guidehouse</a:t>
            </a:r>
            <a:r>
              <a:rPr lang="en-US" sz="900" kern="1200" cap="all" normalizeH="0" baseline="0" dirty="0">
                <a:solidFill>
                  <a:schemeClr val="accent1">
                    <a:lumMod val="60000"/>
                    <a:lumOff val="40000"/>
                  </a:schemeClr>
                </a:solidFill>
                <a:latin typeface="+mj-lt"/>
                <a:ea typeface="+mn-ea"/>
                <a:cs typeface="+mn-cs"/>
              </a:rPr>
              <a:t> Company Company</a:t>
            </a:r>
            <a:r>
              <a:rPr lang="en-US" sz="900" baseline="0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. All rights Reserved</a:t>
            </a:r>
            <a:endParaRPr lang="en-US" sz="900" dirty="0">
              <a:solidFill>
                <a:schemeClr val="accent1">
                  <a:lumMod val="60000"/>
                  <a:lumOff val="40000"/>
                </a:schemeClr>
              </a:solidFill>
            </a:endParaRPr>
          </a:p>
        </p:txBody>
      </p:sp>
      <p:pic>
        <p:nvPicPr>
          <p:cNvPr id="14" name="Picture 13" descr="Mission_Statement_RGB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71520" y="6418194"/>
            <a:ext cx="2726267" cy="123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92145343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een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72747" y="1"/>
            <a:ext cx="9137741" cy="1011420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accent1"/>
                </a:solidFill>
                <a:effectLst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Rectangle 14"/>
          <p:cNvSpPr>
            <a:spLocks noGrp="1" noChangeArrowheads="1"/>
          </p:cNvSpPr>
          <p:nvPr>
            <p:ph idx="1"/>
          </p:nvPr>
        </p:nvSpPr>
        <p:spPr bwMode="auto">
          <a:xfrm>
            <a:off x="2768325" y="1262358"/>
            <a:ext cx="9142163" cy="49066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Freeform 3"/>
          <p:cNvSpPr/>
          <p:nvPr userDrawn="1"/>
        </p:nvSpPr>
        <p:spPr>
          <a:xfrm>
            <a:off x="-8596" y="-3908"/>
            <a:ext cx="2781343" cy="5136220"/>
          </a:xfrm>
          <a:custGeom>
            <a:avLst/>
            <a:gdLst>
              <a:gd name="connsiteX0" fmla="*/ 0 w 1661746"/>
              <a:gd name="connsiteY0" fmla="*/ 0 h 4044462"/>
              <a:gd name="connsiteX1" fmla="*/ 1661746 w 1661746"/>
              <a:gd name="connsiteY1" fmla="*/ 0 h 4044462"/>
              <a:gd name="connsiteX2" fmla="*/ 17585 w 1661746"/>
              <a:gd name="connsiteY2" fmla="*/ 4044462 h 4044462"/>
              <a:gd name="connsiteX3" fmla="*/ 0 w 1661746"/>
              <a:gd name="connsiteY3" fmla="*/ 0 h 4044462"/>
              <a:gd name="connsiteX0" fmla="*/ 0 w 1661746"/>
              <a:gd name="connsiteY0" fmla="*/ 0 h 4039867"/>
              <a:gd name="connsiteX1" fmla="*/ 1661746 w 1661746"/>
              <a:gd name="connsiteY1" fmla="*/ 0 h 4039867"/>
              <a:gd name="connsiteX2" fmla="*/ 12990 w 1661746"/>
              <a:gd name="connsiteY2" fmla="*/ 4039867 h 4039867"/>
              <a:gd name="connsiteX3" fmla="*/ 0 w 1661746"/>
              <a:gd name="connsiteY3" fmla="*/ 0 h 4039867"/>
              <a:gd name="connsiteX0" fmla="*/ 170948 w 1648895"/>
              <a:gd name="connsiteY0" fmla="*/ 284889 h 4039867"/>
              <a:gd name="connsiteX1" fmla="*/ 1648895 w 1648895"/>
              <a:gd name="connsiteY1" fmla="*/ 0 h 4039867"/>
              <a:gd name="connsiteX2" fmla="*/ 139 w 1648895"/>
              <a:gd name="connsiteY2" fmla="*/ 4039867 h 4039867"/>
              <a:gd name="connsiteX3" fmla="*/ 170948 w 1648895"/>
              <a:gd name="connsiteY3" fmla="*/ 284889 h 4039867"/>
              <a:gd name="connsiteX0" fmla="*/ 170948 w 1653490"/>
              <a:gd name="connsiteY0" fmla="*/ 225154 h 3980132"/>
              <a:gd name="connsiteX1" fmla="*/ 1653490 w 1653490"/>
              <a:gd name="connsiteY1" fmla="*/ 0 h 3980132"/>
              <a:gd name="connsiteX2" fmla="*/ 139 w 1653490"/>
              <a:gd name="connsiteY2" fmla="*/ 3980132 h 3980132"/>
              <a:gd name="connsiteX3" fmla="*/ 170948 w 1653490"/>
              <a:gd name="connsiteY3" fmla="*/ 225154 h 3980132"/>
              <a:gd name="connsiteX0" fmla="*/ 170948 w 1658085"/>
              <a:gd name="connsiteY0" fmla="*/ 284889 h 4039867"/>
              <a:gd name="connsiteX1" fmla="*/ 1658085 w 1658085"/>
              <a:gd name="connsiteY1" fmla="*/ 0 h 4039867"/>
              <a:gd name="connsiteX2" fmla="*/ 139 w 1658085"/>
              <a:gd name="connsiteY2" fmla="*/ 4039867 h 4039867"/>
              <a:gd name="connsiteX3" fmla="*/ 170948 w 1658085"/>
              <a:gd name="connsiteY3" fmla="*/ 284889 h 4039867"/>
              <a:gd name="connsiteX0" fmla="*/ 0 w 1666341"/>
              <a:gd name="connsiteY0" fmla="*/ 4595 h 4039867"/>
              <a:gd name="connsiteX1" fmla="*/ 1666341 w 1666341"/>
              <a:gd name="connsiteY1" fmla="*/ 0 h 4039867"/>
              <a:gd name="connsiteX2" fmla="*/ 8395 w 1666341"/>
              <a:gd name="connsiteY2" fmla="*/ 4039867 h 4039867"/>
              <a:gd name="connsiteX3" fmla="*/ 0 w 1666341"/>
              <a:gd name="connsiteY3" fmla="*/ 4595 h 4039867"/>
              <a:gd name="connsiteX0" fmla="*/ 0 w 1666341"/>
              <a:gd name="connsiteY0" fmla="*/ 4595 h 4035272"/>
              <a:gd name="connsiteX1" fmla="*/ 1666341 w 1666341"/>
              <a:gd name="connsiteY1" fmla="*/ 0 h 4035272"/>
              <a:gd name="connsiteX2" fmla="*/ 8395 w 1666341"/>
              <a:gd name="connsiteY2" fmla="*/ 4035272 h 4035272"/>
              <a:gd name="connsiteX3" fmla="*/ 0 w 1666341"/>
              <a:gd name="connsiteY3" fmla="*/ 4595 h 4035272"/>
              <a:gd name="connsiteX0" fmla="*/ 56296 w 1658307"/>
              <a:gd name="connsiteY0" fmla="*/ 114874 h 4035272"/>
              <a:gd name="connsiteX1" fmla="*/ 1658307 w 1658307"/>
              <a:gd name="connsiteY1" fmla="*/ 0 h 4035272"/>
              <a:gd name="connsiteX2" fmla="*/ 361 w 1658307"/>
              <a:gd name="connsiteY2" fmla="*/ 4035272 h 4035272"/>
              <a:gd name="connsiteX3" fmla="*/ 56296 w 1658307"/>
              <a:gd name="connsiteY3" fmla="*/ 114874 h 4035272"/>
              <a:gd name="connsiteX0" fmla="*/ 2400 w 1659551"/>
              <a:gd name="connsiteY0" fmla="*/ 9190 h 4035272"/>
              <a:gd name="connsiteX1" fmla="*/ 1659551 w 1659551"/>
              <a:gd name="connsiteY1" fmla="*/ 0 h 4035272"/>
              <a:gd name="connsiteX2" fmla="*/ 1605 w 1659551"/>
              <a:gd name="connsiteY2" fmla="*/ 4035272 h 4035272"/>
              <a:gd name="connsiteX3" fmla="*/ 2400 w 1659551"/>
              <a:gd name="connsiteY3" fmla="*/ 9190 h 4035272"/>
              <a:gd name="connsiteX0" fmla="*/ 146 w 1659873"/>
              <a:gd name="connsiteY0" fmla="*/ 6614 h 4035272"/>
              <a:gd name="connsiteX1" fmla="*/ 1659873 w 1659873"/>
              <a:gd name="connsiteY1" fmla="*/ 0 h 4035272"/>
              <a:gd name="connsiteX2" fmla="*/ 1927 w 1659873"/>
              <a:gd name="connsiteY2" fmla="*/ 4035272 h 4035272"/>
              <a:gd name="connsiteX3" fmla="*/ 146 w 1659873"/>
              <a:gd name="connsiteY3" fmla="*/ 6614 h 4035272"/>
              <a:gd name="connsiteX0" fmla="*/ 146 w 1649570"/>
              <a:gd name="connsiteY0" fmla="*/ 0 h 4028658"/>
              <a:gd name="connsiteX1" fmla="*/ 1649570 w 1649570"/>
              <a:gd name="connsiteY1" fmla="*/ 11416 h 4028658"/>
              <a:gd name="connsiteX2" fmla="*/ 1927 w 1649570"/>
              <a:gd name="connsiteY2" fmla="*/ 4028658 h 4028658"/>
              <a:gd name="connsiteX3" fmla="*/ 146 w 1649570"/>
              <a:gd name="connsiteY3" fmla="*/ 0 h 4028658"/>
              <a:gd name="connsiteX0" fmla="*/ 57814 w 1647996"/>
              <a:gd name="connsiteY0" fmla="*/ 109645 h 4017242"/>
              <a:gd name="connsiteX1" fmla="*/ 1647996 w 1647996"/>
              <a:gd name="connsiteY1" fmla="*/ 0 h 4017242"/>
              <a:gd name="connsiteX2" fmla="*/ 353 w 1647996"/>
              <a:gd name="connsiteY2" fmla="*/ 4017242 h 4017242"/>
              <a:gd name="connsiteX3" fmla="*/ 57814 w 1647996"/>
              <a:gd name="connsiteY3" fmla="*/ 109645 h 4017242"/>
              <a:gd name="connsiteX0" fmla="*/ 52689 w 1648022"/>
              <a:gd name="connsiteY0" fmla="*/ 65857 h 4017242"/>
              <a:gd name="connsiteX1" fmla="*/ 1648022 w 1648022"/>
              <a:gd name="connsiteY1" fmla="*/ 0 h 4017242"/>
              <a:gd name="connsiteX2" fmla="*/ 379 w 1648022"/>
              <a:gd name="connsiteY2" fmla="*/ 4017242 h 4017242"/>
              <a:gd name="connsiteX3" fmla="*/ 52689 w 1648022"/>
              <a:gd name="connsiteY3" fmla="*/ 65857 h 4017242"/>
              <a:gd name="connsiteX0" fmla="*/ 9598 w 1648720"/>
              <a:gd name="connsiteY0" fmla="*/ 0 h 4020931"/>
              <a:gd name="connsiteX1" fmla="*/ 1648720 w 1648720"/>
              <a:gd name="connsiteY1" fmla="*/ 3689 h 4020931"/>
              <a:gd name="connsiteX2" fmla="*/ 1077 w 1648720"/>
              <a:gd name="connsiteY2" fmla="*/ 4020931 h 4020931"/>
              <a:gd name="connsiteX3" fmla="*/ 9598 w 1648720"/>
              <a:gd name="connsiteY3" fmla="*/ 0 h 4020931"/>
              <a:gd name="connsiteX0" fmla="*/ 12067 w 1651189"/>
              <a:gd name="connsiteY0" fmla="*/ 0 h 4023507"/>
              <a:gd name="connsiteX1" fmla="*/ 1651189 w 1651189"/>
              <a:gd name="connsiteY1" fmla="*/ 3689 h 4023507"/>
              <a:gd name="connsiteX2" fmla="*/ 971 w 1651189"/>
              <a:gd name="connsiteY2" fmla="*/ 4023507 h 4023507"/>
              <a:gd name="connsiteX3" fmla="*/ 12067 w 1651189"/>
              <a:gd name="connsiteY3" fmla="*/ 0 h 4023507"/>
              <a:gd name="connsiteX0" fmla="*/ 0 w 1639122"/>
              <a:gd name="connsiteY0" fmla="*/ 0 h 4023507"/>
              <a:gd name="connsiteX1" fmla="*/ 1639122 w 1639122"/>
              <a:gd name="connsiteY1" fmla="*/ 3689 h 4023507"/>
              <a:gd name="connsiteX2" fmla="*/ 6935 w 1639122"/>
              <a:gd name="connsiteY2" fmla="*/ 4023507 h 4023507"/>
              <a:gd name="connsiteX3" fmla="*/ 0 w 1639122"/>
              <a:gd name="connsiteY3" fmla="*/ 0 h 4023507"/>
              <a:gd name="connsiteX0" fmla="*/ 17059 w 1656181"/>
              <a:gd name="connsiteY0" fmla="*/ 0 h 4015780"/>
              <a:gd name="connsiteX1" fmla="*/ 1656181 w 1656181"/>
              <a:gd name="connsiteY1" fmla="*/ 3689 h 4015780"/>
              <a:gd name="connsiteX2" fmla="*/ 812 w 1656181"/>
              <a:gd name="connsiteY2" fmla="*/ 4015780 h 4015780"/>
              <a:gd name="connsiteX3" fmla="*/ 17059 w 1656181"/>
              <a:gd name="connsiteY3" fmla="*/ 0 h 4015780"/>
              <a:gd name="connsiteX0" fmla="*/ 0 w 1639122"/>
              <a:gd name="connsiteY0" fmla="*/ 0 h 3899870"/>
              <a:gd name="connsiteX1" fmla="*/ 1639122 w 1639122"/>
              <a:gd name="connsiteY1" fmla="*/ 3689 h 3899870"/>
              <a:gd name="connsiteX2" fmla="*/ 73905 w 1639122"/>
              <a:gd name="connsiteY2" fmla="*/ 3899870 h 3899870"/>
              <a:gd name="connsiteX3" fmla="*/ 0 w 1639122"/>
              <a:gd name="connsiteY3" fmla="*/ 0 h 3899870"/>
              <a:gd name="connsiteX0" fmla="*/ 0 w 1639122"/>
              <a:gd name="connsiteY0" fmla="*/ 0 h 3987447"/>
              <a:gd name="connsiteX1" fmla="*/ 1639122 w 1639122"/>
              <a:gd name="connsiteY1" fmla="*/ 3689 h 3987447"/>
              <a:gd name="connsiteX2" fmla="*/ 6935 w 1639122"/>
              <a:gd name="connsiteY2" fmla="*/ 3987447 h 3987447"/>
              <a:gd name="connsiteX3" fmla="*/ 0 w 1639122"/>
              <a:gd name="connsiteY3" fmla="*/ 0 h 3987447"/>
              <a:gd name="connsiteX0" fmla="*/ 144 w 1639266"/>
              <a:gd name="connsiteY0" fmla="*/ 0 h 3987447"/>
              <a:gd name="connsiteX1" fmla="*/ 1639266 w 1639266"/>
              <a:gd name="connsiteY1" fmla="*/ 3689 h 3987447"/>
              <a:gd name="connsiteX2" fmla="*/ 1927 w 1639266"/>
              <a:gd name="connsiteY2" fmla="*/ 3987447 h 3987447"/>
              <a:gd name="connsiteX3" fmla="*/ 144 w 1639266"/>
              <a:gd name="connsiteY3" fmla="*/ 0 h 3987447"/>
              <a:gd name="connsiteX0" fmla="*/ 2397 w 1641519"/>
              <a:gd name="connsiteY0" fmla="*/ 0 h 3995174"/>
              <a:gd name="connsiteX1" fmla="*/ 1641519 w 1641519"/>
              <a:gd name="connsiteY1" fmla="*/ 3689 h 3995174"/>
              <a:gd name="connsiteX2" fmla="*/ 1605 w 1641519"/>
              <a:gd name="connsiteY2" fmla="*/ 3995174 h 3995174"/>
              <a:gd name="connsiteX3" fmla="*/ 2397 w 1641519"/>
              <a:gd name="connsiteY3" fmla="*/ 0 h 3995174"/>
              <a:gd name="connsiteX0" fmla="*/ 9681 w 1648803"/>
              <a:gd name="connsiteY0" fmla="*/ 0 h 5116681"/>
              <a:gd name="connsiteX1" fmla="*/ 1648803 w 1648803"/>
              <a:gd name="connsiteY1" fmla="*/ 3689 h 5116681"/>
              <a:gd name="connsiteX2" fmla="*/ 1073 w 1648803"/>
              <a:gd name="connsiteY2" fmla="*/ 5116681 h 5116681"/>
              <a:gd name="connsiteX3" fmla="*/ 9681 w 1648803"/>
              <a:gd name="connsiteY3" fmla="*/ 0 h 5116681"/>
              <a:gd name="connsiteX0" fmla="*/ 9681 w 2078650"/>
              <a:gd name="connsiteY0" fmla="*/ 0 h 5116681"/>
              <a:gd name="connsiteX1" fmla="*/ 2078650 w 2078650"/>
              <a:gd name="connsiteY1" fmla="*/ 3689 h 5116681"/>
              <a:gd name="connsiteX2" fmla="*/ 1073 w 2078650"/>
              <a:gd name="connsiteY2" fmla="*/ 5116681 h 5116681"/>
              <a:gd name="connsiteX3" fmla="*/ 9681 w 2078650"/>
              <a:gd name="connsiteY3" fmla="*/ 0 h 5116681"/>
              <a:gd name="connsiteX0" fmla="*/ 5986 w 2078862"/>
              <a:gd name="connsiteY0" fmla="*/ 0 h 5120589"/>
              <a:gd name="connsiteX1" fmla="*/ 2078862 w 2078862"/>
              <a:gd name="connsiteY1" fmla="*/ 7597 h 5120589"/>
              <a:gd name="connsiteX2" fmla="*/ 1285 w 2078862"/>
              <a:gd name="connsiteY2" fmla="*/ 5120589 h 5120589"/>
              <a:gd name="connsiteX3" fmla="*/ 5986 w 2078862"/>
              <a:gd name="connsiteY3" fmla="*/ 0 h 5120589"/>
              <a:gd name="connsiteX0" fmla="*/ 2400 w 2075276"/>
              <a:gd name="connsiteY0" fmla="*/ 0 h 5108866"/>
              <a:gd name="connsiteX1" fmla="*/ 2075276 w 2075276"/>
              <a:gd name="connsiteY1" fmla="*/ 7597 h 5108866"/>
              <a:gd name="connsiteX2" fmla="*/ 1606 w 2075276"/>
              <a:gd name="connsiteY2" fmla="*/ 5108866 h 5108866"/>
              <a:gd name="connsiteX3" fmla="*/ 2400 w 2075276"/>
              <a:gd name="connsiteY3" fmla="*/ 0 h 5108866"/>
              <a:gd name="connsiteX0" fmla="*/ 5987 w 2078863"/>
              <a:gd name="connsiteY0" fmla="*/ 0 h 5136220"/>
              <a:gd name="connsiteX1" fmla="*/ 2078863 w 2078863"/>
              <a:gd name="connsiteY1" fmla="*/ 7597 h 5136220"/>
              <a:gd name="connsiteX2" fmla="*/ 1285 w 2078863"/>
              <a:gd name="connsiteY2" fmla="*/ 5136220 h 5136220"/>
              <a:gd name="connsiteX3" fmla="*/ 5987 w 2078863"/>
              <a:gd name="connsiteY3" fmla="*/ 0 h 5136220"/>
              <a:gd name="connsiteX0" fmla="*/ 5987 w 2086007"/>
              <a:gd name="connsiteY0" fmla="*/ 0 h 5136220"/>
              <a:gd name="connsiteX1" fmla="*/ 2086007 w 2086007"/>
              <a:gd name="connsiteY1" fmla="*/ 2835 h 5136220"/>
              <a:gd name="connsiteX2" fmla="*/ 1285 w 2086007"/>
              <a:gd name="connsiteY2" fmla="*/ 5136220 h 5136220"/>
              <a:gd name="connsiteX3" fmla="*/ 5987 w 2086007"/>
              <a:gd name="connsiteY3" fmla="*/ 0 h 51362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086007" h="5136220">
                <a:moveTo>
                  <a:pt x="5987" y="0"/>
                </a:moveTo>
                <a:lnTo>
                  <a:pt x="2086007" y="2835"/>
                </a:lnTo>
                <a:cubicBezTo>
                  <a:pt x="1539369" y="1333330"/>
                  <a:pt x="547923" y="3805725"/>
                  <a:pt x="1285" y="5136220"/>
                </a:cubicBezTo>
                <a:cubicBezTo>
                  <a:pt x="-4577" y="3790997"/>
                  <a:pt x="11849" y="1354016"/>
                  <a:pt x="5987" y="0"/>
                </a:cubicBezTo>
                <a:close/>
              </a:path>
            </a:pathLst>
          </a:custGeom>
          <a:gradFill>
            <a:gsLst>
              <a:gs pos="0">
                <a:srgbClr val="648C1A"/>
              </a:gs>
              <a:gs pos="100000">
                <a:schemeClr val="accent2"/>
              </a:gs>
            </a:gsLst>
            <a:lin ang="108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</p:spTree>
    <p:extLst>
      <p:ext uri="{BB962C8B-B14F-4D97-AF65-F5344CB8AC3E}">
        <p14:creationId xmlns:p14="http://schemas.microsoft.com/office/powerpoint/2010/main" val="342926240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een Bar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Palatino Linotype" pitchFamily="18" charset="0"/>
            </a:endParaRPr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304802" y="6250077"/>
            <a:ext cx="11592985" cy="0"/>
          </a:xfrm>
          <a:prstGeom prst="line">
            <a:avLst/>
          </a:prstGeom>
          <a:ln w="9525">
            <a:solidFill>
              <a:srgbClr val="555759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Text Placeholder 18"/>
          <p:cNvSpPr txBox="1">
            <a:spLocks/>
          </p:cNvSpPr>
          <p:nvPr userDrawn="1"/>
        </p:nvSpPr>
        <p:spPr>
          <a:xfrm>
            <a:off x="182020" y="6365442"/>
            <a:ext cx="478315" cy="231169"/>
          </a:xfrm>
          <a:prstGeom prst="rect">
            <a:avLst/>
          </a:prstGeom>
        </p:spPr>
        <p:txBody>
          <a:bodyPr vert="horz"/>
          <a:lstStyle>
            <a:lvl1pPr marL="0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 baseline="0">
                <a:solidFill>
                  <a:srgbClr val="898C8F"/>
                </a:solidFill>
                <a:latin typeface="+mj-lt"/>
                <a:ea typeface="+mn-ea"/>
                <a:cs typeface="+mn-cs"/>
              </a:defRPr>
            </a:lvl1pPr>
            <a:lvl2pPr marL="457178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2pPr>
            <a:lvl3pPr marL="914354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3pPr>
            <a:lvl4pPr marL="1371532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4pPr>
            <a:lvl5pPr marL="1828709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5pPr>
            <a:lvl6pPr marL="21748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6pPr>
            <a:lvl7pPr marL="26320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7pPr>
            <a:lvl8pPr marL="30892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8pPr>
            <a:lvl9pPr marL="35464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l"/>
            <a:fld id="{C0D4A90D-707C-4CFA-8F87-17CF45DE2B45}" type="slidenum">
              <a:rPr lang="en-US" sz="900" smtClean="0">
                <a:solidFill>
                  <a:srgbClr val="95D600"/>
                </a:solidFill>
              </a:rPr>
              <a:pPr algn="l"/>
              <a:t>‹#›</a:t>
            </a:fld>
            <a:endParaRPr lang="en-US" sz="900" dirty="0"/>
          </a:p>
        </p:txBody>
      </p:sp>
      <p:cxnSp>
        <p:nvCxnSpPr>
          <p:cNvPr id="7" name="Straight Connector 6"/>
          <p:cNvCxnSpPr/>
          <p:nvPr userDrawn="1"/>
        </p:nvCxnSpPr>
        <p:spPr bwMode="auto">
          <a:xfrm flipH="1">
            <a:off x="0" y="6302465"/>
            <a:ext cx="12192000" cy="0"/>
          </a:xfrm>
          <a:prstGeom prst="line">
            <a:avLst/>
          </a:prstGeom>
          <a:solidFill>
            <a:schemeClr val="accent1"/>
          </a:solidFill>
          <a:ln w="19050" cap="flat" cmpd="dbl" algn="ctr">
            <a:noFill/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0" name="Rectangle 14"/>
          <p:cNvSpPr>
            <a:spLocks noGrp="1" noChangeArrowheads="1"/>
          </p:cNvSpPr>
          <p:nvPr>
            <p:ph idx="1"/>
          </p:nvPr>
        </p:nvSpPr>
        <p:spPr bwMode="auto">
          <a:xfrm>
            <a:off x="287453" y="1262358"/>
            <a:ext cx="11623035" cy="49066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Rectangle 10"/>
          <p:cNvSpPr/>
          <p:nvPr userDrawn="1"/>
        </p:nvSpPr>
        <p:spPr bwMode="auto">
          <a:xfrm>
            <a:off x="0" y="0"/>
            <a:ext cx="12192000" cy="1074396"/>
          </a:xfrm>
          <a:prstGeom prst="rect">
            <a:avLst/>
          </a:prstGeom>
          <a:gradFill>
            <a:gsLst>
              <a:gs pos="0">
                <a:schemeClr val="accent2"/>
              </a:gs>
              <a:gs pos="100000">
                <a:srgbClr val="648C1A"/>
              </a:gs>
            </a:gsLst>
            <a:lin ang="10800000" scaled="0"/>
          </a:gra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Palatino Linotype" pitchFamily="18" charset="0"/>
            </a:endParaRPr>
          </a:p>
        </p:txBody>
      </p:sp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287453" y="1"/>
            <a:ext cx="11623035" cy="1011420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" name="Text Placeholder 18"/>
          <p:cNvSpPr txBox="1">
            <a:spLocks/>
          </p:cNvSpPr>
          <p:nvPr userDrawn="1"/>
        </p:nvSpPr>
        <p:spPr>
          <a:xfrm>
            <a:off x="412682" y="6370117"/>
            <a:ext cx="7770501" cy="205345"/>
          </a:xfrm>
          <a:prstGeom prst="rect">
            <a:avLst/>
          </a:prstGeom>
        </p:spPr>
        <p:txBody>
          <a:bodyPr vert="horz"/>
          <a:lstStyle>
            <a:lvl1pPr marL="0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 baseline="0">
                <a:solidFill>
                  <a:srgbClr val="898C8F"/>
                </a:solidFill>
                <a:latin typeface="+mj-lt"/>
                <a:ea typeface="+mn-ea"/>
                <a:cs typeface="+mn-cs"/>
              </a:defRPr>
            </a:lvl1pPr>
            <a:lvl2pPr marL="457178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2pPr>
            <a:lvl3pPr marL="914354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3pPr>
            <a:lvl4pPr marL="1371532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4pPr>
            <a:lvl5pPr marL="1828709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5pPr>
            <a:lvl6pPr marL="21748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6pPr>
            <a:lvl7pPr marL="26320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7pPr>
            <a:lvl8pPr marL="30892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8pPr>
            <a:lvl9pPr marL="35464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 sz="900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/ </a:t>
            </a:r>
            <a:r>
              <a:rPr lang="en-US" sz="900" kern="1200" cap="all" normalizeH="0" baseline="0" dirty="0">
                <a:solidFill>
                  <a:schemeClr val="accent1">
                    <a:lumMod val="60000"/>
                    <a:lumOff val="40000"/>
                  </a:schemeClr>
                </a:solidFill>
                <a:latin typeface="+mj-lt"/>
                <a:ea typeface="+mn-ea"/>
                <a:cs typeface="+mn-cs"/>
              </a:rPr>
              <a:t>©ECOFYS, A Navigant – A </a:t>
            </a:r>
            <a:r>
              <a:rPr lang="en-US" sz="900" kern="1200" cap="all" normalizeH="0" baseline="0" dirty="0" err="1">
                <a:solidFill>
                  <a:schemeClr val="accent1">
                    <a:lumMod val="60000"/>
                    <a:lumOff val="40000"/>
                  </a:schemeClr>
                </a:solidFill>
                <a:latin typeface="+mj-lt"/>
                <a:ea typeface="+mn-ea"/>
                <a:cs typeface="+mn-cs"/>
              </a:rPr>
              <a:t>Guidehouse</a:t>
            </a:r>
            <a:r>
              <a:rPr lang="en-US" sz="900" kern="1200" cap="all" normalizeH="0" baseline="0" dirty="0">
                <a:solidFill>
                  <a:schemeClr val="accent1">
                    <a:lumMod val="60000"/>
                    <a:lumOff val="40000"/>
                  </a:schemeClr>
                </a:solidFill>
                <a:latin typeface="+mj-lt"/>
                <a:ea typeface="+mn-ea"/>
                <a:cs typeface="+mn-cs"/>
              </a:rPr>
              <a:t> Company Company</a:t>
            </a:r>
            <a:r>
              <a:rPr lang="en-US" sz="900" baseline="0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. All rights Reserved</a:t>
            </a:r>
            <a:endParaRPr lang="en-US" sz="900" dirty="0">
              <a:solidFill>
                <a:schemeClr val="accent1">
                  <a:lumMod val="60000"/>
                  <a:lumOff val="40000"/>
                </a:schemeClr>
              </a:solidFill>
            </a:endParaRPr>
          </a:p>
        </p:txBody>
      </p:sp>
      <p:pic>
        <p:nvPicPr>
          <p:cNvPr id="14" name="Picture 13" descr="Mission_Statement_RGB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71520" y="6418194"/>
            <a:ext cx="2726267" cy="123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14533656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y Bar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Palatino Linotype" pitchFamily="18" charset="0"/>
            </a:endParaRPr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304802" y="6250077"/>
            <a:ext cx="11592985" cy="0"/>
          </a:xfrm>
          <a:prstGeom prst="line">
            <a:avLst/>
          </a:prstGeom>
          <a:ln w="9525">
            <a:solidFill>
              <a:srgbClr val="555759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Text Placeholder 18"/>
          <p:cNvSpPr txBox="1">
            <a:spLocks/>
          </p:cNvSpPr>
          <p:nvPr userDrawn="1"/>
        </p:nvSpPr>
        <p:spPr>
          <a:xfrm>
            <a:off x="182020" y="6365442"/>
            <a:ext cx="478315" cy="231169"/>
          </a:xfrm>
          <a:prstGeom prst="rect">
            <a:avLst/>
          </a:prstGeom>
        </p:spPr>
        <p:txBody>
          <a:bodyPr vert="horz"/>
          <a:lstStyle>
            <a:lvl1pPr marL="0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 baseline="0">
                <a:solidFill>
                  <a:srgbClr val="898C8F"/>
                </a:solidFill>
                <a:latin typeface="+mj-lt"/>
                <a:ea typeface="+mn-ea"/>
                <a:cs typeface="+mn-cs"/>
              </a:defRPr>
            </a:lvl1pPr>
            <a:lvl2pPr marL="457178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2pPr>
            <a:lvl3pPr marL="914354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3pPr>
            <a:lvl4pPr marL="1371532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4pPr>
            <a:lvl5pPr marL="1828709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5pPr>
            <a:lvl6pPr marL="21748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6pPr>
            <a:lvl7pPr marL="26320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7pPr>
            <a:lvl8pPr marL="30892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8pPr>
            <a:lvl9pPr marL="35464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l"/>
            <a:fld id="{C0D4A90D-707C-4CFA-8F87-17CF45DE2B45}" type="slidenum">
              <a:rPr lang="en-US" sz="900" smtClean="0">
                <a:solidFill>
                  <a:srgbClr val="95D600"/>
                </a:solidFill>
              </a:rPr>
              <a:pPr algn="l"/>
              <a:t>‹#›</a:t>
            </a:fld>
            <a:endParaRPr lang="en-US" sz="900" dirty="0"/>
          </a:p>
        </p:txBody>
      </p:sp>
      <p:cxnSp>
        <p:nvCxnSpPr>
          <p:cNvPr id="7" name="Straight Connector 6"/>
          <p:cNvCxnSpPr/>
          <p:nvPr userDrawn="1"/>
        </p:nvCxnSpPr>
        <p:spPr bwMode="auto">
          <a:xfrm flipH="1">
            <a:off x="0" y="6302465"/>
            <a:ext cx="12192000" cy="0"/>
          </a:xfrm>
          <a:prstGeom prst="line">
            <a:avLst/>
          </a:prstGeom>
          <a:solidFill>
            <a:schemeClr val="accent1"/>
          </a:solidFill>
          <a:ln w="19050" cap="flat" cmpd="dbl" algn="ctr">
            <a:noFill/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0" name="Rectangle 9"/>
          <p:cNvSpPr/>
          <p:nvPr userDrawn="1"/>
        </p:nvSpPr>
        <p:spPr bwMode="auto">
          <a:xfrm>
            <a:off x="0" y="0"/>
            <a:ext cx="12192000" cy="1074396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Palatino Linotype" pitchFamily="18" charset="0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287453" y="1"/>
            <a:ext cx="11623035" cy="1011420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Rectangle 11"/>
          <p:cNvSpPr/>
          <p:nvPr userDrawn="1"/>
        </p:nvSpPr>
        <p:spPr bwMode="auto">
          <a:xfrm>
            <a:off x="0" y="1074396"/>
            <a:ext cx="12192000" cy="151354"/>
          </a:xfrm>
          <a:prstGeom prst="rect">
            <a:avLst/>
          </a:prstGeom>
          <a:solidFill>
            <a:schemeClr val="accent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Palatino Linotype" pitchFamily="18" charset="0"/>
            </a:endParaRPr>
          </a:p>
        </p:txBody>
      </p:sp>
      <p:sp>
        <p:nvSpPr>
          <p:cNvPr id="13" name="Rectangle 14"/>
          <p:cNvSpPr>
            <a:spLocks noGrp="1" noChangeArrowheads="1"/>
          </p:cNvSpPr>
          <p:nvPr>
            <p:ph idx="1"/>
          </p:nvPr>
        </p:nvSpPr>
        <p:spPr bwMode="auto">
          <a:xfrm>
            <a:off x="287453" y="1403684"/>
            <a:ext cx="11623035" cy="47653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4" name="Text Placeholder 18"/>
          <p:cNvSpPr txBox="1">
            <a:spLocks/>
          </p:cNvSpPr>
          <p:nvPr userDrawn="1"/>
        </p:nvSpPr>
        <p:spPr>
          <a:xfrm>
            <a:off x="412682" y="6370117"/>
            <a:ext cx="7770501" cy="205345"/>
          </a:xfrm>
          <a:prstGeom prst="rect">
            <a:avLst/>
          </a:prstGeom>
        </p:spPr>
        <p:txBody>
          <a:bodyPr vert="horz"/>
          <a:lstStyle>
            <a:lvl1pPr marL="0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 baseline="0">
                <a:solidFill>
                  <a:srgbClr val="898C8F"/>
                </a:solidFill>
                <a:latin typeface="+mj-lt"/>
                <a:ea typeface="+mn-ea"/>
                <a:cs typeface="+mn-cs"/>
              </a:defRPr>
            </a:lvl1pPr>
            <a:lvl2pPr marL="457178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2pPr>
            <a:lvl3pPr marL="914354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3pPr>
            <a:lvl4pPr marL="1371532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4pPr>
            <a:lvl5pPr marL="1828709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5pPr>
            <a:lvl6pPr marL="21748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6pPr>
            <a:lvl7pPr marL="26320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7pPr>
            <a:lvl8pPr marL="30892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8pPr>
            <a:lvl9pPr marL="35464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 sz="900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/ </a:t>
            </a:r>
            <a:r>
              <a:rPr lang="en-US" sz="900" kern="1200" cap="all" normalizeH="0" baseline="0" dirty="0">
                <a:solidFill>
                  <a:schemeClr val="accent1">
                    <a:lumMod val="60000"/>
                    <a:lumOff val="40000"/>
                  </a:schemeClr>
                </a:solidFill>
                <a:latin typeface="+mj-lt"/>
                <a:ea typeface="+mn-ea"/>
                <a:cs typeface="+mn-cs"/>
              </a:rPr>
              <a:t>©ECOFYS, A Navigant – A </a:t>
            </a:r>
            <a:r>
              <a:rPr lang="en-US" sz="900" kern="1200" cap="all" normalizeH="0" baseline="0" dirty="0" err="1">
                <a:solidFill>
                  <a:schemeClr val="accent1">
                    <a:lumMod val="60000"/>
                    <a:lumOff val="40000"/>
                  </a:schemeClr>
                </a:solidFill>
                <a:latin typeface="+mj-lt"/>
                <a:ea typeface="+mn-ea"/>
                <a:cs typeface="+mn-cs"/>
              </a:rPr>
              <a:t>Guidehouse</a:t>
            </a:r>
            <a:r>
              <a:rPr lang="en-US" sz="900" kern="1200" cap="all" normalizeH="0" baseline="0" dirty="0">
                <a:solidFill>
                  <a:schemeClr val="accent1">
                    <a:lumMod val="60000"/>
                    <a:lumOff val="40000"/>
                  </a:schemeClr>
                </a:solidFill>
                <a:latin typeface="+mj-lt"/>
                <a:ea typeface="+mn-ea"/>
                <a:cs typeface="+mn-cs"/>
              </a:rPr>
              <a:t> Company Company</a:t>
            </a:r>
            <a:r>
              <a:rPr lang="en-US" sz="900" baseline="0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. All rights Reserved</a:t>
            </a:r>
            <a:endParaRPr lang="en-US" sz="900" dirty="0">
              <a:solidFill>
                <a:schemeClr val="accent1">
                  <a:lumMod val="60000"/>
                  <a:lumOff val="40000"/>
                </a:schemeClr>
              </a:solidFill>
            </a:endParaRPr>
          </a:p>
        </p:txBody>
      </p:sp>
      <p:pic>
        <p:nvPicPr>
          <p:cNvPr id="15" name="Picture 13" descr="Mission_Statement_RGB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71520" y="6418194"/>
            <a:ext cx="2726267" cy="123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13528627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een_Title and 2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72747" y="1"/>
            <a:ext cx="9137741" cy="1011420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accent1"/>
                </a:solidFill>
                <a:effectLst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Rectangle 14"/>
          <p:cNvSpPr>
            <a:spLocks noGrp="1" noChangeArrowheads="1"/>
          </p:cNvSpPr>
          <p:nvPr>
            <p:ph idx="1"/>
          </p:nvPr>
        </p:nvSpPr>
        <p:spPr bwMode="auto">
          <a:xfrm>
            <a:off x="2768326" y="1262358"/>
            <a:ext cx="4406133" cy="49066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Rectangle 14"/>
          <p:cNvSpPr>
            <a:spLocks noGrp="1" noChangeArrowheads="1"/>
          </p:cNvSpPr>
          <p:nvPr>
            <p:ph idx="10"/>
          </p:nvPr>
        </p:nvSpPr>
        <p:spPr bwMode="auto">
          <a:xfrm>
            <a:off x="7504355" y="1262358"/>
            <a:ext cx="4406133" cy="49066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Freeform 5"/>
          <p:cNvSpPr/>
          <p:nvPr userDrawn="1"/>
        </p:nvSpPr>
        <p:spPr>
          <a:xfrm>
            <a:off x="-8596" y="-3908"/>
            <a:ext cx="2781343" cy="5136220"/>
          </a:xfrm>
          <a:custGeom>
            <a:avLst/>
            <a:gdLst>
              <a:gd name="connsiteX0" fmla="*/ 0 w 1661746"/>
              <a:gd name="connsiteY0" fmla="*/ 0 h 4044462"/>
              <a:gd name="connsiteX1" fmla="*/ 1661746 w 1661746"/>
              <a:gd name="connsiteY1" fmla="*/ 0 h 4044462"/>
              <a:gd name="connsiteX2" fmla="*/ 17585 w 1661746"/>
              <a:gd name="connsiteY2" fmla="*/ 4044462 h 4044462"/>
              <a:gd name="connsiteX3" fmla="*/ 0 w 1661746"/>
              <a:gd name="connsiteY3" fmla="*/ 0 h 4044462"/>
              <a:gd name="connsiteX0" fmla="*/ 0 w 1661746"/>
              <a:gd name="connsiteY0" fmla="*/ 0 h 4039867"/>
              <a:gd name="connsiteX1" fmla="*/ 1661746 w 1661746"/>
              <a:gd name="connsiteY1" fmla="*/ 0 h 4039867"/>
              <a:gd name="connsiteX2" fmla="*/ 12990 w 1661746"/>
              <a:gd name="connsiteY2" fmla="*/ 4039867 h 4039867"/>
              <a:gd name="connsiteX3" fmla="*/ 0 w 1661746"/>
              <a:gd name="connsiteY3" fmla="*/ 0 h 4039867"/>
              <a:gd name="connsiteX0" fmla="*/ 170948 w 1648895"/>
              <a:gd name="connsiteY0" fmla="*/ 284889 h 4039867"/>
              <a:gd name="connsiteX1" fmla="*/ 1648895 w 1648895"/>
              <a:gd name="connsiteY1" fmla="*/ 0 h 4039867"/>
              <a:gd name="connsiteX2" fmla="*/ 139 w 1648895"/>
              <a:gd name="connsiteY2" fmla="*/ 4039867 h 4039867"/>
              <a:gd name="connsiteX3" fmla="*/ 170948 w 1648895"/>
              <a:gd name="connsiteY3" fmla="*/ 284889 h 4039867"/>
              <a:gd name="connsiteX0" fmla="*/ 170948 w 1653490"/>
              <a:gd name="connsiteY0" fmla="*/ 225154 h 3980132"/>
              <a:gd name="connsiteX1" fmla="*/ 1653490 w 1653490"/>
              <a:gd name="connsiteY1" fmla="*/ 0 h 3980132"/>
              <a:gd name="connsiteX2" fmla="*/ 139 w 1653490"/>
              <a:gd name="connsiteY2" fmla="*/ 3980132 h 3980132"/>
              <a:gd name="connsiteX3" fmla="*/ 170948 w 1653490"/>
              <a:gd name="connsiteY3" fmla="*/ 225154 h 3980132"/>
              <a:gd name="connsiteX0" fmla="*/ 170948 w 1658085"/>
              <a:gd name="connsiteY0" fmla="*/ 284889 h 4039867"/>
              <a:gd name="connsiteX1" fmla="*/ 1658085 w 1658085"/>
              <a:gd name="connsiteY1" fmla="*/ 0 h 4039867"/>
              <a:gd name="connsiteX2" fmla="*/ 139 w 1658085"/>
              <a:gd name="connsiteY2" fmla="*/ 4039867 h 4039867"/>
              <a:gd name="connsiteX3" fmla="*/ 170948 w 1658085"/>
              <a:gd name="connsiteY3" fmla="*/ 284889 h 4039867"/>
              <a:gd name="connsiteX0" fmla="*/ 0 w 1666341"/>
              <a:gd name="connsiteY0" fmla="*/ 4595 h 4039867"/>
              <a:gd name="connsiteX1" fmla="*/ 1666341 w 1666341"/>
              <a:gd name="connsiteY1" fmla="*/ 0 h 4039867"/>
              <a:gd name="connsiteX2" fmla="*/ 8395 w 1666341"/>
              <a:gd name="connsiteY2" fmla="*/ 4039867 h 4039867"/>
              <a:gd name="connsiteX3" fmla="*/ 0 w 1666341"/>
              <a:gd name="connsiteY3" fmla="*/ 4595 h 4039867"/>
              <a:gd name="connsiteX0" fmla="*/ 0 w 1666341"/>
              <a:gd name="connsiteY0" fmla="*/ 4595 h 4035272"/>
              <a:gd name="connsiteX1" fmla="*/ 1666341 w 1666341"/>
              <a:gd name="connsiteY1" fmla="*/ 0 h 4035272"/>
              <a:gd name="connsiteX2" fmla="*/ 8395 w 1666341"/>
              <a:gd name="connsiteY2" fmla="*/ 4035272 h 4035272"/>
              <a:gd name="connsiteX3" fmla="*/ 0 w 1666341"/>
              <a:gd name="connsiteY3" fmla="*/ 4595 h 4035272"/>
              <a:gd name="connsiteX0" fmla="*/ 56296 w 1658307"/>
              <a:gd name="connsiteY0" fmla="*/ 114874 h 4035272"/>
              <a:gd name="connsiteX1" fmla="*/ 1658307 w 1658307"/>
              <a:gd name="connsiteY1" fmla="*/ 0 h 4035272"/>
              <a:gd name="connsiteX2" fmla="*/ 361 w 1658307"/>
              <a:gd name="connsiteY2" fmla="*/ 4035272 h 4035272"/>
              <a:gd name="connsiteX3" fmla="*/ 56296 w 1658307"/>
              <a:gd name="connsiteY3" fmla="*/ 114874 h 4035272"/>
              <a:gd name="connsiteX0" fmla="*/ 2400 w 1659551"/>
              <a:gd name="connsiteY0" fmla="*/ 9190 h 4035272"/>
              <a:gd name="connsiteX1" fmla="*/ 1659551 w 1659551"/>
              <a:gd name="connsiteY1" fmla="*/ 0 h 4035272"/>
              <a:gd name="connsiteX2" fmla="*/ 1605 w 1659551"/>
              <a:gd name="connsiteY2" fmla="*/ 4035272 h 4035272"/>
              <a:gd name="connsiteX3" fmla="*/ 2400 w 1659551"/>
              <a:gd name="connsiteY3" fmla="*/ 9190 h 4035272"/>
              <a:gd name="connsiteX0" fmla="*/ 146 w 1659873"/>
              <a:gd name="connsiteY0" fmla="*/ 6614 h 4035272"/>
              <a:gd name="connsiteX1" fmla="*/ 1659873 w 1659873"/>
              <a:gd name="connsiteY1" fmla="*/ 0 h 4035272"/>
              <a:gd name="connsiteX2" fmla="*/ 1927 w 1659873"/>
              <a:gd name="connsiteY2" fmla="*/ 4035272 h 4035272"/>
              <a:gd name="connsiteX3" fmla="*/ 146 w 1659873"/>
              <a:gd name="connsiteY3" fmla="*/ 6614 h 4035272"/>
              <a:gd name="connsiteX0" fmla="*/ 146 w 1649570"/>
              <a:gd name="connsiteY0" fmla="*/ 0 h 4028658"/>
              <a:gd name="connsiteX1" fmla="*/ 1649570 w 1649570"/>
              <a:gd name="connsiteY1" fmla="*/ 11416 h 4028658"/>
              <a:gd name="connsiteX2" fmla="*/ 1927 w 1649570"/>
              <a:gd name="connsiteY2" fmla="*/ 4028658 h 4028658"/>
              <a:gd name="connsiteX3" fmla="*/ 146 w 1649570"/>
              <a:gd name="connsiteY3" fmla="*/ 0 h 4028658"/>
              <a:gd name="connsiteX0" fmla="*/ 57814 w 1647996"/>
              <a:gd name="connsiteY0" fmla="*/ 109645 h 4017242"/>
              <a:gd name="connsiteX1" fmla="*/ 1647996 w 1647996"/>
              <a:gd name="connsiteY1" fmla="*/ 0 h 4017242"/>
              <a:gd name="connsiteX2" fmla="*/ 353 w 1647996"/>
              <a:gd name="connsiteY2" fmla="*/ 4017242 h 4017242"/>
              <a:gd name="connsiteX3" fmla="*/ 57814 w 1647996"/>
              <a:gd name="connsiteY3" fmla="*/ 109645 h 4017242"/>
              <a:gd name="connsiteX0" fmla="*/ 52689 w 1648022"/>
              <a:gd name="connsiteY0" fmla="*/ 65857 h 4017242"/>
              <a:gd name="connsiteX1" fmla="*/ 1648022 w 1648022"/>
              <a:gd name="connsiteY1" fmla="*/ 0 h 4017242"/>
              <a:gd name="connsiteX2" fmla="*/ 379 w 1648022"/>
              <a:gd name="connsiteY2" fmla="*/ 4017242 h 4017242"/>
              <a:gd name="connsiteX3" fmla="*/ 52689 w 1648022"/>
              <a:gd name="connsiteY3" fmla="*/ 65857 h 4017242"/>
              <a:gd name="connsiteX0" fmla="*/ 9598 w 1648720"/>
              <a:gd name="connsiteY0" fmla="*/ 0 h 4020931"/>
              <a:gd name="connsiteX1" fmla="*/ 1648720 w 1648720"/>
              <a:gd name="connsiteY1" fmla="*/ 3689 h 4020931"/>
              <a:gd name="connsiteX2" fmla="*/ 1077 w 1648720"/>
              <a:gd name="connsiteY2" fmla="*/ 4020931 h 4020931"/>
              <a:gd name="connsiteX3" fmla="*/ 9598 w 1648720"/>
              <a:gd name="connsiteY3" fmla="*/ 0 h 4020931"/>
              <a:gd name="connsiteX0" fmla="*/ 12067 w 1651189"/>
              <a:gd name="connsiteY0" fmla="*/ 0 h 4023507"/>
              <a:gd name="connsiteX1" fmla="*/ 1651189 w 1651189"/>
              <a:gd name="connsiteY1" fmla="*/ 3689 h 4023507"/>
              <a:gd name="connsiteX2" fmla="*/ 971 w 1651189"/>
              <a:gd name="connsiteY2" fmla="*/ 4023507 h 4023507"/>
              <a:gd name="connsiteX3" fmla="*/ 12067 w 1651189"/>
              <a:gd name="connsiteY3" fmla="*/ 0 h 4023507"/>
              <a:gd name="connsiteX0" fmla="*/ 0 w 1639122"/>
              <a:gd name="connsiteY0" fmla="*/ 0 h 4023507"/>
              <a:gd name="connsiteX1" fmla="*/ 1639122 w 1639122"/>
              <a:gd name="connsiteY1" fmla="*/ 3689 h 4023507"/>
              <a:gd name="connsiteX2" fmla="*/ 6935 w 1639122"/>
              <a:gd name="connsiteY2" fmla="*/ 4023507 h 4023507"/>
              <a:gd name="connsiteX3" fmla="*/ 0 w 1639122"/>
              <a:gd name="connsiteY3" fmla="*/ 0 h 4023507"/>
              <a:gd name="connsiteX0" fmla="*/ 17059 w 1656181"/>
              <a:gd name="connsiteY0" fmla="*/ 0 h 4015780"/>
              <a:gd name="connsiteX1" fmla="*/ 1656181 w 1656181"/>
              <a:gd name="connsiteY1" fmla="*/ 3689 h 4015780"/>
              <a:gd name="connsiteX2" fmla="*/ 812 w 1656181"/>
              <a:gd name="connsiteY2" fmla="*/ 4015780 h 4015780"/>
              <a:gd name="connsiteX3" fmla="*/ 17059 w 1656181"/>
              <a:gd name="connsiteY3" fmla="*/ 0 h 4015780"/>
              <a:gd name="connsiteX0" fmla="*/ 0 w 1639122"/>
              <a:gd name="connsiteY0" fmla="*/ 0 h 3899870"/>
              <a:gd name="connsiteX1" fmla="*/ 1639122 w 1639122"/>
              <a:gd name="connsiteY1" fmla="*/ 3689 h 3899870"/>
              <a:gd name="connsiteX2" fmla="*/ 73905 w 1639122"/>
              <a:gd name="connsiteY2" fmla="*/ 3899870 h 3899870"/>
              <a:gd name="connsiteX3" fmla="*/ 0 w 1639122"/>
              <a:gd name="connsiteY3" fmla="*/ 0 h 3899870"/>
              <a:gd name="connsiteX0" fmla="*/ 0 w 1639122"/>
              <a:gd name="connsiteY0" fmla="*/ 0 h 3987447"/>
              <a:gd name="connsiteX1" fmla="*/ 1639122 w 1639122"/>
              <a:gd name="connsiteY1" fmla="*/ 3689 h 3987447"/>
              <a:gd name="connsiteX2" fmla="*/ 6935 w 1639122"/>
              <a:gd name="connsiteY2" fmla="*/ 3987447 h 3987447"/>
              <a:gd name="connsiteX3" fmla="*/ 0 w 1639122"/>
              <a:gd name="connsiteY3" fmla="*/ 0 h 3987447"/>
              <a:gd name="connsiteX0" fmla="*/ 144 w 1639266"/>
              <a:gd name="connsiteY0" fmla="*/ 0 h 3987447"/>
              <a:gd name="connsiteX1" fmla="*/ 1639266 w 1639266"/>
              <a:gd name="connsiteY1" fmla="*/ 3689 h 3987447"/>
              <a:gd name="connsiteX2" fmla="*/ 1927 w 1639266"/>
              <a:gd name="connsiteY2" fmla="*/ 3987447 h 3987447"/>
              <a:gd name="connsiteX3" fmla="*/ 144 w 1639266"/>
              <a:gd name="connsiteY3" fmla="*/ 0 h 3987447"/>
              <a:gd name="connsiteX0" fmla="*/ 2397 w 1641519"/>
              <a:gd name="connsiteY0" fmla="*/ 0 h 3995174"/>
              <a:gd name="connsiteX1" fmla="*/ 1641519 w 1641519"/>
              <a:gd name="connsiteY1" fmla="*/ 3689 h 3995174"/>
              <a:gd name="connsiteX2" fmla="*/ 1605 w 1641519"/>
              <a:gd name="connsiteY2" fmla="*/ 3995174 h 3995174"/>
              <a:gd name="connsiteX3" fmla="*/ 2397 w 1641519"/>
              <a:gd name="connsiteY3" fmla="*/ 0 h 3995174"/>
              <a:gd name="connsiteX0" fmla="*/ 9681 w 1648803"/>
              <a:gd name="connsiteY0" fmla="*/ 0 h 5116681"/>
              <a:gd name="connsiteX1" fmla="*/ 1648803 w 1648803"/>
              <a:gd name="connsiteY1" fmla="*/ 3689 h 5116681"/>
              <a:gd name="connsiteX2" fmla="*/ 1073 w 1648803"/>
              <a:gd name="connsiteY2" fmla="*/ 5116681 h 5116681"/>
              <a:gd name="connsiteX3" fmla="*/ 9681 w 1648803"/>
              <a:gd name="connsiteY3" fmla="*/ 0 h 5116681"/>
              <a:gd name="connsiteX0" fmla="*/ 9681 w 2078650"/>
              <a:gd name="connsiteY0" fmla="*/ 0 h 5116681"/>
              <a:gd name="connsiteX1" fmla="*/ 2078650 w 2078650"/>
              <a:gd name="connsiteY1" fmla="*/ 3689 h 5116681"/>
              <a:gd name="connsiteX2" fmla="*/ 1073 w 2078650"/>
              <a:gd name="connsiteY2" fmla="*/ 5116681 h 5116681"/>
              <a:gd name="connsiteX3" fmla="*/ 9681 w 2078650"/>
              <a:gd name="connsiteY3" fmla="*/ 0 h 5116681"/>
              <a:gd name="connsiteX0" fmla="*/ 5986 w 2078862"/>
              <a:gd name="connsiteY0" fmla="*/ 0 h 5120589"/>
              <a:gd name="connsiteX1" fmla="*/ 2078862 w 2078862"/>
              <a:gd name="connsiteY1" fmla="*/ 7597 h 5120589"/>
              <a:gd name="connsiteX2" fmla="*/ 1285 w 2078862"/>
              <a:gd name="connsiteY2" fmla="*/ 5120589 h 5120589"/>
              <a:gd name="connsiteX3" fmla="*/ 5986 w 2078862"/>
              <a:gd name="connsiteY3" fmla="*/ 0 h 5120589"/>
              <a:gd name="connsiteX0" fmla="*/ 2400 w 2075276"/>
              <a:gd name="connsiteY0" fmla="*/ 0 h 5108866"/>
              <a:gd name="connsiteX1" fmla="*/ 2075276 w 2075276"/>
              <a:gd name="connsiteY1" fmla="*/ 7597 h 5108866"/>
              <a:gd name="connsiteX2" fmla="*/ 1606 w 2075276"/>
              <a:gd name="connsiteY2" fmla="*/ 5108866 h 5108866"/>
              <a:gd name="connsiteX3" fmla="*/ 2400 w 2075276"/>
              <a:gd name="connsiteY3" fmla="*/ 0 h 5108866"/>
              <a:gd name="connsiteX0" fmla="*/ 5987 w 2078863"/>
              <a:gd name="connsiteY0" fmla="*/ 0 h 5136220"/>
              <a:gd name="connsiteX1" fmla="*/ 2078863 w 2078863"/>
              <a:gd name="connsiteY1" fmla="*/ 7597 h 5136220"/>
              <a:gd name="connsiteX2" fmla="*/ 1285 w 2078863"/>
              <a:gd name="connsiteY2" fmla="*/ 5136220 h 5136220"/>
              <a:gd name="connsiteX3" fmla="*/ 5987 w 2078863"/>
              <a:gd name="connsiteY3" fmla="*/ 0 h 5136220"/>
              <a:gd name="connsiteX0" fmla="*/ 5987 w 2086007"/>
              <a:gd name="connsiteY0" fmla="*/ 0 h 5136220"/>
              <a:gd name="connsiteX1" fmla="*/ 2086007 w 2086007"/>
              <a:gd name="connsiteY1" fmla="*/ 2835 h 5136220"/>
              <a:gd name="connsiteX2" fmla="*/ 1285 w 2086007"/>
              <a:gd name="connsiteY2" fmla="*/ 5136220 h 5136220"/>
              <a:gd name="connsiteX3" fmla="*/ 5987 w 2086007"/>
              <a:gd name="connsiteY3" fmla="*/ 0 h 51362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086007" h="5136220">
                <a:moveTo>
                  <a:pt x="5987" y="0"/>
                </a:moveTo>
                <a:lnTo>
                  <a:pt x="2086007" y="2835"/>
                </a:lnTo>
                <a:cubicBezTo>
                  <a:pt x="1539369" y="1333330"/>
                  <a:pt x="547923" y="3805725"/>
                  <a:pt x="1285" y="5136220"/>
                </a:cubicBezTo>
                <a:cubicBezTo>
                  <a:pt x="-4577" y="3790997"/>
                  <a:pt x="11849" y="1354016"/>
                  <a:pt x="5987" y="0"/>
                </a:cubicBezTo>
                <a:close/>
              </a:path>
            </a:pathLst>
          </a:custGeom>
          <a:gradFill>
            <a:gsLst>
              <a:gs pos="0">
                <a:srgbClr val="648C1A"/>
              </a:gs>
              <a:gs pos="100000">
                <a:schemeClr val="accent2"/>
              </a:gs>
            </a:gsLst>
            <a:lin ang="108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</p:spTree>
    <p:extLst>
      <p:ext uri="{BB962C8B-B14F-4D97-AF65-F5344CB8AC3E}">
        <p14:creationId xmlns:p14="http://schemas.microsoft.com/office/powerpoint/2010/main" val="284723792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y Bar_Title and 2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Palatino Linotype" pitchFamily="18" charset="0"/>
            </a:endParaRPr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304802" y="6250077"/>
            <a:ext cx="11592985" cy="0"/>
          </a:xfrm>
          <a:prstGeom prst="line">
            <a:avLst/>
          </a:prstGeom>
          <a:ln w="9525">
            <a:solidFill>
              <a:srgbClr val="555759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Text Placeholder 18"/>
          <p:cNvSpPr txBox="1">
            <a:spLocks/>
          </p:cNvSpPr>
          <p:nvPr userDrawn="1"/>
        </p:nvSpPr>
        <p:spPr>
          <a:xfrm>
            <a:off x="182020" y="6365442"/>
            <a:ext cx="478315" cy="231169"/>
          </a:xfrm>
          <a:prstGeom prst="rect">
            <a:avLst/>
          </a:prstGeom>
        </p:spPr>
        <p:txBody>
          <a:bodyPr vert="horz"/>
          <a:lstStyle>
            <a:lvl1pPr marL="0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 baseline="0">
                <a:solidFill>
                  <a:srgbClr val="898C8F"/>
                </a:solidFill>
                <a:latin typeface="+mj-lt"/>
                <a:ea typeface="+mn-ea"/>
                <a:cs typeface="+mn-cs"/>
              </a:defRPr>
            </a:lvl1pPr>
            <a:lvl2pPr marL="457178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2pPr>
            <a:lvl3pPr marL="914354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3pPr>
            <a:lvl4pPr marL="1371532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4pPr>
            <a:lvl5pPr marL="1828709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5pPr>
            <a:lvl6pPr marL="21748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6pPr>
            <a:lvl7pPr marL="26320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7pPr>
            <a:lvl8pPr marL="30892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8pPr>
            <a:lvl9pPr marL="35464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l"/>
            <a:fld id="{C0D4A90D-707C-4CFA-8F87-17CF45DE2B45}" type="slidenum">
              <a:rPr lang="en-US" sz="900" smtClean="0">
                <a:solidFill>
                  <a:srgbClr val="95D600"/>
                </a:solidFill>
              </a:rPr>
              <a:pPr algn="l"/>
              <a:t>‹#›</a:t>
            </a:fld>
            <a:endParaRPr lang="en-US" sz="900" dirty="0"/>
          </a:p>
        </p:txBody>
      </p:sp>
      <p:cxnSp>
        <p:nvCxnSpPr>
          <p:cNvPr id="7" name="Straight Connector 6"/>
          <p:cNvCxnSpPr/>
          <p:nvPr userDrawn="1"/>
        </p:nvCxnSpPr>
        <p:spPr bwMode="auto">
          <a:xfrm flipH="1">
            <a:off x="0" y="6302465"/>
            <a:ext cx="12192000" cy="0"/>
          </a:xfrm>
          <a:prstGeom prst="line">
            <a:avLst/>
          </a:prstGeom>
          <a:solidFill>
            <a:schemeClr val="accent1"/>
          </a:solidFill>
          <a:ln w="19050" cap="flat" cmpd="dbl" algn="ctr">
            <a:noFill/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0" name="Rectangle 9"/>
          <p:cNvSpPr/>
          <p:nvPr userDrawn="1"/>
        </p:nvSpPr>
        <p:spPr bwMode="auto">
          <a:xfrm>
            <a:off x="0" y="0"/>
            <a:ext cx="12192000" cy="1074396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Palatino Linotype" pitchFamily="18" charset="0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287453" y="1"/>
            <a:ext cx="11623035" cy="1011420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Rectangle 11"/>
          <p:cNvSpPr/>
          <p:nvPr userDrawn="1"/>
        </p:nvSpPr>
        <p:spPr bwMode="auto">
          <a:xfrm>
            <a:off x="0" y="1074396"/>
            <a:ext cx="12192000" cy="151354"/>
          </a:xfrm>
          <a:prstGeom prst="rect">
            <a:avLst/>
          </a:prstGeom>
          <a:solidFill>
            <a:schemeClr val="accent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Palatino Linotype" pitchFamily="18" charset="0"/>
            </a:endParaRPr>
          </a:p>
        </p:txBody>
      </p:sp>
      <p:sp>
        <p:nvSpPr>
          <p:cNvPr id="14" name="Rectangle 14"/>
          <p:cNvSpPr>
            <a:spLocks noGrp="1" noChangeArrowheads="1"/>
          </p:cNvSpPr>
          <p:nvPr>
            <p:ph idx="10"/>
          </p:nvPr>
        </p:nvSpPr>
        <p:spPr bwMode="auto">
          <a:xfrm>
            <a:off x="287454" y="1403683"/>
            <a:ext cx="5628156" cy="47653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5" name="Content Placeholder 14"/>
          <p:cNvSpPr>
            <a:spLocks noGrp="1" noChangeArrowheads="1"/>
          </p:cNvSpPr>
          <p:nvPr>
            <p:ph idx="11"/>
          </p:nvPr>
        </p:nvSpPr>
        <p:spPr bwMode="auto">
          <a:xfrm>
            <a:off x="6282333" y="1403683"/>
            <a:ext cx="5628156" cy="47653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Text Placeholder 18"/>
          <p:cNvSpPr txBox="1">
            <a:spLocks/>
          </p:cNvSpPr>
          <p:nvPr userDrawn="1"/>
        </p:nvSpPr>
        <p:spPr>
          <a:xfrm>
            <a:off x="412682" y="6370117"/>
            <a:ext cx="7770501" cy="205345"/>
          </a:xfrm>
          <a:prstGeom prst="rect">
            <a:avLst/>
          </a:prstGeom>
        </p:spPr>
        <p:txBody>
          <a:bodyPr vert="horz"/>
          <a:lstStyle>
            <a:lvl1pPr marL="0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 baseline="0">
                <a:solidFill>
                  <a:srgbClr val="898C8F"/>
                </a:solidFill>
                <a:latin typeface="+mj-lt"/>
                <a:ea typeface="+mn-ea"/>
                <a:cs typeface="+mn-cs"/>
              </a:defRPr>
            </a:lvl1pPr>
            <a:lvl2pPr marL="457178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2pPr>
            <a:lvl3pPr marL="914354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3pPr>
            <a:lvl4pPr marL="1371532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4pPr>
            <a:lvl5pPr marL="1828709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5pPr>
            <a:lvl6pPr marL="21748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6pPr>
            <a:lvl7pPr marL="26320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7pPr>
            <a:lvl8pPr marL="30892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8pPr>
            <a:lvl9pPr marL="35464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 sz="900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/ </a:t>
            </a:r>
            <a:r>
              <a:rPr lang="en-US" sz="900" kern="1200" cap="all" normalizeH="0" baseline="0" dirty="0">
                <a:solidFill>
                  <a:schemeClr val="accent1">
                    <a:lumMod val="60000"/>
                    <a:lumOff val="40000"/>
                  </a:schemeClr>
                </a:solidFill>
                <a:latin typeface="+mj-lt"/>
                <a:ea typeface="+mn-ea"/>
                <a:cs typeface="+mn-cs"/>
              </a:rPr>
              <a:t>©ECOFYS, A Navigant – A </a:t>
            </a:r>
            <a:r>
              <a:rPr lang="en-US" sz="900" kern="1200" cap="all" normalizeH="0" baseline="0" dirty="0" err="1">
                <a:solidFill>
                  <a:schemeClr val="accent1">
                    <a:lumMod val="60000"/>
                    <a:lumOff val="40000"/>
                  </a:schemeClr>
                </a:solidFill>
                <a:latin typeface="+mj-lt"/>
                <a:ea typeface="+mn-ea"/>
                <a:cs typeface="+mn-cs"/>
              </a:rPr>
              <a:t>Guidehouse</a:t>
            </a:r>
            <a:r>
              <a:rPr lang="en-US" sz="900" kern="1200" cap="all" normalizeH="0" baseline="0" dirty="0">
                <a:solidFill>
                  <a:schemeClr val="accent1">
                    <a:lumMod val="60000"/>
                    <a:lumOff val="40000"/>
                  </a:schemeClr>
                </a:solidFill>
                <a:latin typeface="+mj-lt"/>
                <a:ea typeface="+mn-ea"/>
                <a:cs typeface="+mn-cs"/>
              </a:rPr>
              <a:t> Company Company</a:t>
            </a:r>
            <a:r>
              <a:rPr lang="en-US" sz="900" baseline="0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. All rights Reserved</a:t>
            </a:r>
            <a:endParaRPr lang="en-US" sz="900" dirty="0">
              <a:solidFill>
                <a:schemeClr val="accent1">
                  <a:lumMod val="60000"/>
                  <a:lumOff val="40000"/>
                </a:schemeClr>
              </a:solidFill>
            </a:endParaRPr>
          </a:p>
        </p:txBody>
      </p:sp>
      <p:pic>
        <p:nvPicPr>
          <p:cNvPr id="16" name="Picture 13" descr="Mission_Statement_RGB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71520" y="6418194"/>
            <a:ext cx="2726267" cy="123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56059025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een_Title and 3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72747" y="1"/>
            <a:ext cx="9137741" cy="1011420"/>
          </a:xfrm>
          <a:prstGeom prst="rect">
            <a:avLst/>
          </a:prstGeom>
        </p:spPr>
        <p:txBody>
          <a:bodyPr anchor="b"/>
          <a:lstStyle>
            <a:lvl1pPr>
              <a:defRPr sz="2200">
                <a:solidFill>
                  <a:schemeClr val="accent1"/>
                </a:solidFill>
                <a:effectLst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Rectangle 14"/>
          <p:cNvSpPr>
            <a:spLocks noGrp="1" noChangeArrowheads="1"/>
          </p:cNvSpPr>
          <p:nvPr>
            <p:ph idx="1"/>
          </p:nvPr>
        </p:nvSpPr>
        <p:spPr bwMode="auto">
          <a:xfrm>
            <a:off x="2768325" y="1262358"/>
            <a:ext cx="2808867" cy="49066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Rectangle 14"/>
          <p:cNvSpPr>
            <a:spLocks noGrp="1" noChangeArrowheads="1"/>
          </p:cNvSpPr>
          <p:nvPr>
            <p:ph idx="10"/>
          </p:nvPr>
        </p:nvSpPr>
        <p:spPr bwMode="auto">
          <a:xfrm>
            <a:off x="5937184" y="1262358"/>
            <a:ext cx="2808867" cy="49066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Rectangle 14"/>
          <p:cNvSpPr>
            <a:spLocks noGrp="1" noChangeArrowheads="1"/>
          </p:cNvSpPr>
          <p:nvPr>
            <p:ph idx="11"/>
          </p:nvPr>
        </p:nvSpPr>
        <p:spPr bwMode="auto">
          <a:xfrm>
            <a:off x="9101621" y="1262358"/>
            <a:ext cx="2808867" cy="49066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Freeform 7"/>
          <p:cNvSpPr/>
          <p:nvPr userDrawn="1"/>
        </p:nvSpPr>
        <p:spPr>
          <a:xfrm>
            <a:off x="-8596" y="-3908"/>
            <a:ext cx="2781343" cy="5136220"/>
          </a:xfrm>
          <a:custGeom>
            <a:avLst/>
            <a:gdLst>
              <a:gd name="connsiteX0" fmla="*/ 0 w 1661746"/>
              <a:gd name="connsiteY0" fmla="*/ 0 h 4044462"/>
              <a:gd name="connsiteX1" fmla="*/ 1661746 w 1661746"/>
              <a:gd name="connsiteY1" fmla="*/ 0 h 4044462"/>
              <a:gd name="connsiteX2" fmla="*/ 17585 w 1661746"/>
              <a:gd name="connsiteY2" fmla="*/ 4044462 h 4044462"/>
              <a:gd name="connsiteX3" fmla="*/ 0 w 1661746"/>
              <a:gd name="connsiteY3" fmla="*/ 0 h 4044462"/>
              <a:gd name="connsiteX0" fmla="*/ 0 w 1661746"/>
              <a:gd name="connsiteY0" fmla="*/ 0 h 4039867"/>
              <a:gd name="connsiteX1" fmla="*/ 1661746 w 1661746"/>
              <a:gd name="connsiteY1" fmla="*/ 0 h 4039867"/>
              <a:gd name="connsiteX2" fmla="*/ 12990 w 1661746"/>
              <a:gd name="connsiteY2" fmla="*/ 4039867 h 4039867"/>
              <a:gd name="connsiteX3" fmla="*/ 0 w 1661746"/>
              <a:gd name="connsiteY3" fmla="*/ 0 h 4039867"/>
              <a:gd name="connsiteX0" fmla="*/ 170948 w 1648895"/>
              <a:gd name="connsiteY0" fmla="*/ 284889 h 4039867"/>
              <a:gd name="connsiteX1" fmla="*/ 1648895 w 1648895"/>
              <a:gd name="connsiteY1" fmla="*/ 0 h 4039867"/>
              <a:gd name="connsiteX2" fmla="*/ 139 w 1648895"/>
              <a:gd name="connsiteY2" fmla="*/ 4039867 h 4039867"/>
              <a:gd name="connsiteX3" fmla="*/ 170948 w 1648895"/>
              <a:gd name="connsiteY3" fmla="*/ 284889 h 4039867"/>
              <a:gd name="connsiteX0" fmla="*/ 170948 w 1653490"/>
              <a:gd name="connsiteY0" fmla="*/ 225154 h 3980132"/>
              <a:gd name="connsiteX1" fmla="*/ 1653490 w 1653490"/>
              <a:gd name="connsiteY1" fmla="*/ 0 h 3980132"/>
              <a:gd name="connsiteX2" fmla="*/ 139 w 1653490"/>
              <a:gd name="connsiteY2" fmla="*/ 3980132 h 3980132"/>
              <a:gd name="connsiteX3" fmla="*/ 170948 w 1653490"/>
              <a:gd name="connsiteY3" fmla="*/ 225154 h 3980132"/>
              <a:gd name="connsiteX0" fmla="*/ 170948 w 1658085"/>
              <a:gd name="connsiteY0" fmla="*/ 284889 h 4039867"/>
              <a:gd name="connsiteX1" fmla="*/ 1658085 w 1658085"/>
              <a:gd name="connsiteY1" fmla="*/ 0 h 4039867"/>
              <a:gd name="connsiteX2" fmla="*/ 139 w 1658085"/>
              <a:gd name="connsiteY2" fmla="*/ 4039867 h 4039867"/>
              <a:gd name="connsiteX3" fmla="*/ 170948 w 1658085"/>
              <a:gd name="connsiteY3" fmla="*/ 284889 h 4039867"/>
              <a:gd name="connsiteX0" fmla="*/ 0 w 1666341"/>
              <a:gd name="connsiteY0" fmla="*/ 4595 h 4039867"/>
              <a:gd name="connsiteX1" fmla="*/ 1666341 w 1666341"/>
              <a:gd name="connsiteY1" fmla="*/ 0 h 4039867"/>
              <a:gd name="connsiteX2" fmla="*/ 8395 w 1666341"/>
              <a:gd name="connsiteY2" fmla="*/ 4039867 h 4039867"/>
              <a:gd name="connsiteX3" fmla="*/ 0 w 1666341"/>
              <a:gd name="connsiteY3" fmla="*/ 4595 h 4039867"/>
              <a:gd name="connsiteX0" fmla="*/ 0 w 1666341"/>
              <a:gd name="connsiteY0" fmla="*/ 4595 h 4035272"/>
              <a:gd name="connsiteX1" fmla="*/ 1666341 w 1666341"/>
              <a:gd name="connsiteY1" fmla="*/ 0 h 4035272"/>
              <a:gd name="connsiteX2" fmla="*/ 8395 w 1666341"/>
              <a:gd name="connsiteY2" fmla="*/ 4035272 h 4035272"/>
              <a:gd name="connsiteX3" fmla="*/ 0 w 1666341"/>
              <a:gd name="connsiteY3" fmla="*/ 4595 h 4035272"/>
              <a:gd name="connsiteX0" fmla="*/ 56296 w 1658307"/>
              <a:gd name="connsiteY0" fmla="*/ 114874 h 4035272"/>
              <a:gd name="connsiteX1" fmla="*/ 1658307 w 1658307"/>
              <a:gd name="connsiteY1" fmla="*/ 0 h 4035272"/>
              <a:gd name="connsiteX2" fmla="*/ 361 w 1658307"/>
              <a:gd name="connsiteY2" fmla="*/ 4035272 h 4035272"/>
              <a:gd name="connsiteX3" fmla="*/ 56296 w 1658307"/>
              <a:gd name="connsiteY3" fmla="*/ 114874 h 4035272"/>
              <a:gd name="connsiteX0" fmla="*/ 2400 w 1659551"/>
              <a:gd name="connsiteY0" fmla="*/ 9190 h 4035272"/>
              <a:gd name="connsiteX1" fmla="*/ 1659551 w 1659551"/>
              <a:gd name="connsiteY1" fmla="*/ 0 h 4035272"/>
              <a:gd name="connsiteX2" fmla="*/ 1605 w 1659551"/>
              <a:gd name="connsiteY2" fmla="*/ 4035272 h 4035272"/>
              <a:gd name="connsiteX3" fmla="*/ 2400 w 1659551"/>
              <a:gd name="connsiteY3" fmla="*/ 9190 h 4035272"/>
              <a:gd name="connsiteX0" fmla="*/ 146 w 1659873"/>
              <a:gd name="connsiteY0" fmla="*/ 6614 h 4035272"/>
              <a:gd name="connsiteX1" fmla="*/ 1659873 w 1659873"/>
              <a:gd name="connsiteY1" fmla="*/ 0 h 4035272"/>
              <a:gd name="connsiteX2" fmla="*/ 1927 w 1659873"/>
              <a:gd name="connsiteY2" fmla="*/ 4035272 h 4035272"/>
              <a:gd name="connsiteX3" fmla="*/ 146 w 1659873"/>
              <a:gd name="connsiteY3" fmla="*/ 6614 h 4035272"/>
              <a:gd name="connsiteX0" fmla="*/ 146 w 1649570"/>
              <a:gd name="connsiteY0" fmla="*/ 0 h 4028658"/>
              <a:gd name="connsiteX1" fmla="*/ 1649570 w 1649570"/>
              <a:gd name="connsiteY1" fmla="*/ 11416 h 4028658"/>
              <a:gd name="connsiteX2" fmla="*/ 1927 w 1649570"/>
              <a:gd name="connsiteY2" fmla="*/ 4028658 h 4028658"/>
              <a:gd name="connsiteX3" fmla="*/ 146 w 1649570"/>
              <a:gd name="connsiteY3" fmla="*/ 0 h 4028658"/>
              <a:gd name="connsiteX0" fmla="*/ 57814 w 1647996"/>
              <a:gd name="connsiteY0" fmla="*/ 109645 h 4017242"/>
              <a:gd name="connsiteX1" fmla="*/ 1647996 w 1647996"/>
              <a:gd name="connsiteY1" fmla="*/ 0 h 4017242"/>
              <a:gd name="connsiteX2" fmla="*/ 353 w 1647996"/>
              <a:gd name="connsiteY2" fmla="*/ 4017242 h 4017242"/>
              <a:gd name="connsiteX3" fmla="*/ 57814 w 1647996"/>
              <a:gd name="connsiteY3" fmla="*/ 109645 h 4017242"/>
              <a:gd name="connsiteX0" fmla="*/ 52689 w 1648022"/>
              <a:gd name="connsiteY0" fmla="*/ 65857 h 4017242"/>
              <a:gd name="connsiteX1" fmla="*/ 1648022 w 1648022"/>
              <a:gd name="connsiteY1" fmla="*/ 0 h 4017242"/>
              <a:gd name="connsiteX2" fmla="*/ 379 w 1648022"/>
              <a:gd name="connsiteY2" fmla="*/ 4017242 h 4017242"/>
              <a:gd name="connsiteX3" fmla="*/ 52689 w 1648022"/>
              <a:gd name="connsiteY3" fmla="*/ 65857 h 4017242"/>
              <a:gd name="connsiteX0" fmla="*/ 9598 w 1648720"/>
              <a:gd name="connsiteY0" fmla="*/ 0 h 4020931"/>
              <a:gd name="connsiteX1" fmla="*/ 1648720 w 1648720"/>
              <a:gd name="connsiteY1" fmla="*/ 3689 h 4020931"/>
              <a:gd name="connsiteX2" fmla="*/ 1077 w 1648720"/>
              <a:gd name="connsiteY2" fmla="*/ 4020931 h 4020931"/>
              <a:gd name="connsiteX3" fmla="*/ 9598 w 1648720"/>
              <a:gd name="connsiteY3" fmla="*/ 0 h 4020931"/>
              <a:gd name="connsiteX0" fmla="*/ 12067 w 1651189"/>
              <a:gd name="connsiteY0" fmla="*/ 0 h 4023507"/>
              <a:gd name="connsiteX1" fmla="*/ 1651189 w 1651189"/>
              <a:gd name="connsiteY1" fmla="*/ 3689 h 4023507"/>
              <a:gd name="connsiteX2" fmla="*/ 971 w 1651189"/>
              <a:gd name="connsiteY2" fmla="*/ 4023507 h 4023507"/>
              <a:gd name="connsiteX3" fmla="*/ 12067 w 1651189"/>
              <a:gd name="connsiteY3" fmla="*/ 0 h 4023507"/>
              <a:gd name="connsiteX0" fmla="*/ 0 w 1639122"/>
              <a:gd name="connsiteY0" fmla="*/ 0 h 4023507"/>
              <a:gd name="connsiteX1" fmla="*/ 1639122 w 1639122"/>
              <a:gd name="connsiteY1" fmla="*/ 3689 h 4023507"/>
              <a:gd name="connsiteX2" fmla="*/ 6935 w 1639122"/>
              <a:gd name="connsiteY2" fmla="*/ 4023507 h 4023507"/>
              <a:gd name="connsiteX3" fmla="*/ 0 w 1639122"/>
              <a:gd name="connsiteY3" fmla="*/ 0 h 4023507"/>
              <a:gd name="connsiteX0" fmla="*/ 17059 w 1656181"/>
              <a:gd name="connsiteY0" fmla="*/ 0 h 4015780"/>
              <a:gd name="connsiteX1" fmla="*/ 1656181 w 1656181"/>
              <a:gd name="connsiteY1" fmla="*/ 3689 h 4015780"/>
              <a:gd name="connsiteX2" fmla="*/ 812 w 1656181"/>
              <a:gd name="connsiteY2" fmla="*/ 4015780 h 4015780"/>
              <a:gd name="connsiteX3" fmla="*/ 17059 w 1656181"/>
              <a:gd name="connsiteY3" fmla="*/ 0 h 4015780"/>
              <a:gd name="connsiteX0" fmla="*/ 0 w 1639122"/>
              <a:gd name="connsiteY0" fmla="*/ 0 h 3899870"/>
              <a:gd name="connsiteX1" fmla="*/ 1639122 w 1639122"/>
              <a:gd name="connsiteY1" fmla="*/ 3689 h 3899870"/>
              <a:gd name="connsiteX2" fmla="*/ 73905 w 1639122"/>
              <a:gd name="connsiteY2" fmla="*/ 3899870 h 3899870"/>
              <a:gd name="connsiteX3" fmla="*/ 0 w 1639122"/>
              <a:gd name="connsiteY3" fmla="*/ 0 h 3899870"/>
              <a:gd name="connsiteX0" fmla="*/ 0 w 1639122"/>
              <a:gd name="connsiteY0" fmla="*/ 0 h 3987447"/>
              <a:gd name="connsiteX1" fmla="*/ 1639122 w 1639122"/>
              <a:gd name="connsiteY1" fmla="*/ 3689 h 3987447"/>
              <a:gd name="connsiteX2" fmla="*/ 6935 w 1639122"/>
              <a:gd name="connsiteY2" fmla="*/ 3987447 h 3987447"/>
              <a:gd name="connsiteX3" fmla="*/ 0 w 1639122"/>
              <a:gd name="connsiteY3" fmla="*/ 0 h 3987447"/>
              <a:gd name="connsiteX0" fmla="*/ 144 w 1639266"/>
              <a:gd name="connsiteY0" fmla="*/ 0 h 3987447"/>
              <a:gd name="connsiteX1" fmla="*/ 1639266 w 1639266"/>
              <a:gd name="connsiteY1" fmla="*/ 3689 h 3987447"/>
              <a:gd name="connsiteX2" fmla="*/ 1927 w 1639266"/>
              <a:gd name="connsiteY2" fmla="*/ 3987447 h 3987447"/>
              <a:gd name="connsiteX3" fmla="*/ 144 w 1639266"/>
              <a:gd name="connsiteY3" fmla="*/ 0 h 3987447"/>
              <a:gd name="connsiteX0" fmla="*/ 2397 w 1641519"/>
              <a:gd name="connsiteY0" fmla="*/ 0 h 3995174"/>
              <a:gd name="connsiteX1" fmla="*/ 1641519 w 1641519"/>
              <a:gd name="connsiteY1" fmla="*/ 3689 h 3995174"/>
              <a:gd name="connsiteX2" fmla="*/ 1605 w 1641519"/>
              <a:gd name="connsiteY2" fmla="*/ 3995174 h 3995174"/>
              <a:gd name="connsiteX3" fmla="*/ 2397 w 1641519"/>
              <a:gd name="connsiteY3" fmla="*/ 0 h 3995174"/>
              <a:gd name="connsiteX0" fmla="*/ 9681 w 1648803"/>
              <a:gd name="connsiteY0" fmla="*/ 0 h 5116681"/>
              <a:gd name="connsiteX1" fmla="*/ 1648803 w 1648803"/>
              <a:gd name="connsiteY1" fmla="*/ 3689 h 5116681"/>
              <a:gd name="connsiteX2" fmla="*/ 1073 w 1648803"/>
              <a:gd name="connsiteY2" fmla="*/ 5116681 h 5116681"/>
              <a:gd name="connsiteX3" fmla="*/ 9681 w 1648803"/>
              <a:gd name="connsiteY3" fmla="*/ 0 h 5116681"/>
              <a:gd name="connsiteX0" fmla="*/ 9681 w 2078650"/>
              <a:gd name="connsiteY0" fmla="*/ 0 h 5116681"/>
              <a:gd name="connsiteX1" fmla="*/ 2078650 w 2078650"/>
              <a:gd name="connsiteY1" fmla="*/ 3689 h 5116681"/>
              <a:gd name="connsiteX2" fmla="*/ 1073 w 2078650"/>
              <a:gd name="connsiteY2" fmla="*/ 5116681 h 5116681"/>
              <a:gd name="connsiteX3" fmla="*/ 9681 w 2078650"/>
              <a:gd name="connsiteY3" fmla="*/ 0 h 5116681"/>
              <a:gd name="connsiteX0" fmla="*/ 5986 w 2078862"/>
              <a:gd name="connsiteY0" fmla="*/ 0 h 5120589"/>
              <a:gd name="connsiteX1" fmla="*/ 2078862 w 2078862"/>
              <a:gd name="connsiteY1" fmla="*/ 7597 h 5120589"/>
              <a:gd name="connsiteX2" fmla="*/ 1285 w 2078862"/>
              <a:gd name="connsiteY2" fmla="*/ 5120589 h 5120589"/>
              <a:gd name="connsiteX3" fmla="*/ 5986 w 2078862"/>
              <a:gd name="connsiteY3" fmla="*/ 0 h 5120589"/>
              <a:gd name="connsiteX0" fmla="*/ 2400 w 2075276"/>
              <a:gd name="connsiteY0" fmla="*/ 0 h 5108866"/>
              <a:gd name="connsiteX1" fmla="*/ 2075276 w 2075276"/>
              <a:gd name="connsiteY1" fmla="*/ 7597 h 5108866"/>
              <a:gd name="connsiteX2" fmla="*/ 1606 w 2075276"/>
              <a:gd name="connsiteY2" fmla="*/ 5108866 h 5108866"/>
              <a:gd name="connsiteX3" fmla="*/ 2400 w 2075276"/>
              <a:gd name="connsiteY3" fmla="*/ 0 h 5108866"/>
              <a:gd name="connsiteX0" fmla="*/ 5987 w 2078863"/>
              <a:gd name="connsiteY0" fmla="*/ 0 h 5136220"/>
              <a:gd name="connsiteX1" fmla="*/ 2078863 w 2078863"/>
              <a:gd name="connsiteY1" fmla="*/ 7597 h 5136220"/>
              <a:gd name="connsiteX2" fmla="*/ 1285 w 2078863"/>
              <a:gd name="connsiteY2" fmla="*/ 5136220 h 5136220"/>
              <a:gd name="connsiteX3" fmla="*/ 5987 w 2078863"/>
              <a:gd name="connsiteY3" fmla="*/ 0 h 5136220"/>
              <a:gd name="connsiteX0" fmla="*/ 5987 w 2086007"/>
              <a:gd name="connsiteY0" fmla="*/ 0 h 5136220"/>
              <a:gd name="connsiteX1" fmla="*/ 2086007 w 2086007"/>
              <a:gd name="connsiteY1" fmla="*/ 2835 h 5136220"/>
              <a:gd name="connsiteX2" fmla="*/ 1285 w 2086007"/>
              <a:gd name="connsiteY2" fmla="*/ 5136220 h 5136220"/>
              <a:gd name="connsiteX3" fmla="*/ 5987 w 2086007"/>
              <a:gd name="connsiteY3" fmla="*/ 0 h 51362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086007" h="5136220">
                <a:moveTo>
                  <a:pt x="5987" y="0"/>
                </a:moveTo>
                <a:lnTo>
                  <a:pt x="2086007" y="2835"/>
                </a:lnTo>
                <a:cubicBezTo>
                  <a:pt x="1539369" y="1333330"/>
                  <a:pt x="547923" y="3805725"/>
                  <a:pt x="1285" y="5136220"/>
                </a:cubicBezTo>
                <a:cubicBezTo>
                  <a:pt x="-4577" y="3790997"/>
                  <a:pt x="11849" y="1354016"/>
                  <a:pt x="5987" y="0"/>
                </a:cubicBezTo>
                <a:close/>
              </a:path>
            </a:pathLst>
          </a:custGeom>
          <a:gradFill>
            <a:gsLst>
              <a:gs pos="0">
                <a:srgbClr val="648C1A"/>
              </a:gs>
              <a:gs pos="100000">
                <a:schemeClr val="accent2"/>
              </a:gs>
            </a:gsLst>
            <a:lin ang="108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</p:spTree>
    <p:extLst>
      <p:ext uri="{BB962C8B-B14F-4D97-AF65-F5344CB8AC3E}">
        <p14:creationId xmlns:p14="http://schemas.microsoft.com/office/powerpoint/2010/main" val="3697553582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een Bar_Title and 3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Palatino Linotype" pitchFamily="18" charset="0"/>
            </a:endParaRPr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304802" y="6250077"/>
            <a:ext cx="11592985" cy="0"/>
          </a:xfrm>
          <a:prstGeom prst="line">
            <a:avLst/>
          </a:prstGeom>
          <a:ln w="9525">
            <a:solidFill>
              <a:srgbClr val="555759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Text Placeholder 18"/>
          <p:cNvSpPr txBox="1">
            <a:spLocks/>
          </p:cNvSpPr>
          <p:nvPr userDrawn="1"/>
        </p:nvSpPr>
        <p:spPr>
          <a:xfrm>
            <a:off x="182020" y="6365442"/>
            <a:ext cx="478315" cy="231169"/>
          </a:xfrm>
          <a:prstGeom prst="rect">
            <a:avLst/>
          </a:prstGeom>
        </p:spPr>
        <p:txBody>
          <a:bodyPr vert="horz"/>
          <a:lstStyle>
            <a:lvl1pPr marL="0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 baseline="0">
                <a:solidFill>
                  <a:srgbClr val="898C8F"/>
                </a:solidFill>
                <a:latin typeface="+mj-lt"/>
                <a:ea typeface="+mn-ea"/>
                <a:cs typeface="+mn-cs"/>
              </a:defRPr>
            </a:lvl1pPr>
            <a:lvl2pPr marL="457178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2pPr>
            <a:lvl3pPr marL="914354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3pPr>
            <a:lvl4pPr marL="1371532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4pPr>
            <a:lvl5pPr marL="1828709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5pPr>
            <a:lvl6pPr marL="21748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6pPr>
            <a:lvl7pPr marL="26320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7pPr>
            <a:lvl8pPr marL="30892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8pPr>
            <a:lvl9pPr marL="35464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l"/>
            <a:fld id="{C0D4A90D-707C-4CFA-8F87-17CF45DE2B45}" type="slidenum">
              <a:rPr lang="en-US" sz="900" smtClean="0">
                <a:solidFill>
                  <a:srgbClr val="95D600"/>
                </a:solidFill>
              </a:rPr>
              <a:pPr algn="l"/>
              <a:t>‹#›</a:t>
            </a:fld>
            <a:endParaRPr lang="en-US" sz="900" dirty="0"/>
          </a:p>
        </p:txBody>
      </p:sp>
      <p:cxnSp>
        <p:nvCxnSpPr>
          <p:cNvPr id="7" name="Straight Connector 6"/>
          <p:cNvCxnSpPr/>
          <p:nvPr userDrawn="1"/>
        </p:nvCxnSpPr>
        <p:spPr bwMode="auto">
          <a:xfrm flipH="1">
            <a:off x="0" y="6302465"/>
            <a:ext cx="12192000" cy="0"/>
          </a:xfrm>
          <a:prstGeom prst="line">
            <a:avLst/>
          </a:prstGeom>
          <a:solidFill>
            <a:schemeClr val="accent1"/>
          </a:solidFill>
          <a:ln w="19050" cap="flat" cmpd="dbl" algn="ctr">
            <a:noFill/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3" name="Rectangle 14"/>
          <p:cNvSpPr>
            <a:spLocks noGrp="1" noChangeArrowheads="1"/>
          </p:cNvSpPr>
          <p:nvPr>
            <p:ph idx="1"/>
          </p:nvPr>
        </p:nvSpPr>
        <p:spPr bwMode="auto">
          <a:xfrm>
            <a:off x="287453" y="1262358"/>
            <a:ext cx="3654227" cy="49066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4" name="Rectangle 14"/>
          <p:cNvSpPr>
            <a:spLocks noGrp="1" noChangeArrowheads="1"/>
          </p:cNvSpPr>
          <p:nvPr>
            <p:ph idx="10"/>
          </p:nvPr>
        </p:nvSpPr>
        <p:spPr bwMode="auto">
          <a:xfrm>
            <a:off x="4271857" y="1262358"/>
            <a:ext cx="3654227" cy="49066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5" name="Content Placeholder 14"/>
          <p:cNvSpPr>
            <a:spLocks noGrp="1" noChangeArrowheads="1"/>
          </p:cNvSpPr>
          <p:nvPr>
            <p:ph idx="11"/>
          </p:nvPr>
        </p:nvSpPr>
        <p:spPr bwMode="auto">
          <a:xfrm>
            <a:off x="8256261" y="1262358"/>
            <a:ext cx="3654227" cy="49066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6" name="Rectangle 15"/>
          <p:cNvSpPr/>
          <p:nvPr userDrawn="1"/>
        </p:nvSpPr>
        <p:spPr bwMode="auto">
          <a:xfrm>
            <a:off x="0" y="0"/>
            <a:ext cx="12192000" cy="1074396"/>
          </a:xfrm>
          <a:prstGeom prst="rect">
            <a:avLst/>
          </a:prstGeom>
          <a:gradFill>
            <a:gsLst>
              <a:gs pos="0">
                <a:schemeClr val="accent2"/>
              </a:gs>
              <a:gs pos="100000">
                <a:srgbClr val="648C1A"/>
              </a:gs>
            </a:gsLst>
            <a:lin ang="10800000" scaled="0"/>
          </a:gra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Palatino Linotype" pitchFamily="18" charset="0"/>
            </a:endParaRPr>
          </a:p>
        </p:txBody>
      </p:sp>
      <p:sp>
        <p:nvSpPr>
          <p:cNvPr id="17" name="Title 1"/>
          <p:cNvSpPr>
            <a:spLocks noGrp="1"/>
          </p:cNvSpPr>
          <p:nvPr>
            <p:ph type="title"/>
          </p:nvPr>
        </p:nvSpPr>
        <p:spPr>
          <a:xfrm>
            <a:off x="287453" y="1"/>
            <a:ext cx="11623035" cy="1011420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8" name="Text Placeholder 18"/>
          <p:cNvSpPr txBox="1">
            <a:spLocks/>
          </p:cNvSpPr>
          <p:nvPr userDrawn="1"/>
        </p:nvSpPr>
        <p:spPr>
          <a:xfrm>
            <a:off x="412682" y="6370117"/>
            <a:ext cx="7770501" cy="205345"/>
          </a:xfrm>
          <a:prstGeom prst="rect">
            <a:avLst/>
          </a:prstGeom>
        </p:spPr>
        <p:txBody>
          <a:bodyPr vert="horz"/>
          <a:lstStyle>
            <a:lvl1pPr marL="0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 baseline="0">
                <a:solidFill>
                  <a:srgbClr val="898C8F"/>
                </a:solidFill>
                <a:latin typeface="+mj-lt"/>
                <a:ea typeface="+mn-ea"/>
                <a:cs typeface="+mn-cs"/>
              </a:defRPr>
            </a:lvl1pPr>
            <a:lvl2pPr marL="457178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2pPr>
            <a:lvl3pPr marL="914354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3pPr>
            <a:lvl4pPr marL="1371532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4pPr>
            <a:lvl5pPr marL="1828709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5pPr>
            <a:lvl6pPr marL="21748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6pPr>
            <a:lvl7pPr marL="26320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7pPr>
            <a:lvl8pPr marL="30892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8pPr>
            <a:lvl9pPr marL="35464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 sz="900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/ </a:t>
            </a:r>
            <a:r>
              <a:rPr lang="en-US" sz="900" kern="1200" cap="all" normalizeH="0" baseline="0" dirty="0">
                <a:solidFill>
                  <a:schemeClr val="accent1">
                    <a:lumMod val="60000"/>
                    <a:lumOff val="40000"/>
                  </a:schemeClr>
                </a:solidFill>
                <a:latin typeface="+mj-lt"/>
                <a:ea typeface="+mn-ea"/>
                <a:cs typeface="+mn-cs"/>
              </a:rPr>
              <a:t>©ECOFYS, A Navigant – A </a:t>
            </a:r>
            <a:r>
              <a:rPr lang="en-US" sz="900" kern="1200" cap="all" normalizeH="0" baseline="0" dirty="0" err="1">
                <a:solidFill>
                  <a:schemeClr val="accent1">
                    <a:lumMod val="60000"/>
                    <a:lumOff val="40000"/>
                  </a:schemeClr>
                </a:solidFill>
                <a:latin typeface="+mj-lt"/>
                <a:ea typeface="+mn-ea"/>
                <a:cs typeface="+mn-cs"/>
              </a:rPr>
              <a:t>Guidehouse</a:t>
            </a:r>
            <a:r>
              <a:rPr lang="en-US" sz="900" kern="1200" cap="all" normalizeH="0" baseline="0" dirty="0">
                <a:solidFill>
                  <a:schemeClr val="accent1">
                    <a:lumMod val="60000"/>
                    <a:lumOff val="40000"/>
                  </a:schemeClr>
                </a:solidFill>
                <a:latin typeface="+mj-lt"/>
                <a:ea typeface="+mn-ea"/>
                <a:cs typeface="+mn-cs"/>
              </a:rPr>
              <a:t> Company Company</a:t>
            </a:r>
            <a:r>
              <a:rPr lang="en-US" sz="900" baseline="0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. All rights Reserved</a:t>
            </a:r>
            <a:endParaRPr lang="en-US" sz="900" dirty="0">
              <a:solidFill>
                <a:schemeClr val="accent1">
                  <a:lumMod val="60000"/>
                  <a:lumOff val="40000"/>
                </a:schemeClr>
              </a:solidFill>
            </a:endParaRPr>
          </a:p>
        </p:txBody>
      </p:sp>
      <p:pic>
        <p:nvPicPr>
          <p:cNvPr id="19" name="Picture 13" descr="Mission_Statement_RGB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71520" y="6418194"/>
            <a:ext cx="2726267" cy="123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84670840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- Full Red">
    <p:bg>
      <p:bgPr>
        <a:solidFill>
          <a:srgbClr val="BA0C2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USAID_Logo_White_v02.png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11740" y="685800"/>
            <a:ext cx="2438400" cy="544010"/>
          </a:xfrm>
          <a:prstGeom prst="rect">
            <a:avLst/>
          </a:prstGeom>
        </p:spPr>
      </p:pic>
      <p:sp>
        <p:nvSpPr>
          <p:cNvPr id="8" name="Date Placeholder 3"/>
          <p:cNvSpPr>
            <a:spLocks noGrp="1"/>
          </p:cNvSpPr>
          <p:nvPr>
            <p:ph type="dt" sz="half" idx="2"/>
          </p:nvPr>
        </p:nvSpPr>
        <p:spPr>
          <a:xfrm>
            <a:off x="203200" y="6520934"/>
            <a:ext cx="2844800" cy="184666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l">
              <a:defRPr sz="600" b="0" i="0">
                <a:solidFill>
                  <a:srgbClr val="FFFFFF"/>
                </a:solidFill>
                <a:latin typeface="Gill Sans MT"/>
                <a:cs typeface="Gill Sans MT"/>
              </a:defRPr>
            </a:lvl1pPr>
          </a:lstStyle>
          <a:p>
            <a:endParaRPr lang="en-US" dirty="0"/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144000" y="6520934"/>
            <a:ext cx="2844800" cy="184666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r">
              <a:defRPr sz="600" b="0" i="0">
                <a:solidFill>
                  <a:srgbClr val="FFFFFF"/>
                </a:solidFill>
                <a:latin typeface="Gill Sans MT"/>
                <a:cs typeface="Gill Sans MT"/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Title 1"/>
          <p:cNvSpPr>
            <a:spLocks noGrp="1"/>
          </p:cNvSpPr>
          <p:nvPr>
            <p:ph type="ctrTitle" hasCustomPrompt="1"/>
          </p:nvPr>
        </p:nvSpPr>
        <p:spPr>
          <a:xfrm>
            <a:off x="914400" y="2133600"/>
            <a:ext cx="7315200" cy="1600200"/>
          </a:xfrm>
        </p:spPr>
        <p:txBody>
          <a:bodyPr anchor="b" anchorCtr="0">
            <a:normAutofit/>
          </a:bodyPr>
          <a:lstStyle>
            <a:lvl1pPr>
              <a:defRPr sz="3200"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5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914400" y="4114800"/>
            <a:ext cx="4572000" cy="1600200"/>
          </a:xfrm>
        </p:spPr>
        <p:txBody>
          <a:bodyPr>
            <a:normAutofit/>
          </a:bodyPr>
          <a:lstStyle>
            <a:lvl1pPr marL="0" indent="0" algn="l">
              <a:buNone/>
              <a:defRPr sz="1800">
                <a:solidFill>
                  <a:srgbClr val="FFFFFF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25277123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y Bar_Title and 3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Palatino Linotype" pitchFamily="18" charset="0"/>
            </a:endParaRPr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304802" y="6250077"/>
            <a:ext cx="11592985" cy="0"/>
          </a:xfrm>
          <a:prstGeom prst="line">
            <a:avLst/>
          </a:prstGeom>
          <a:ln w="9525">
            <a:solidFill>
              <a:srgbClr val="555759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Text Placeholder 18"/>
          <p:cNvSpPr txBox="1">
            <a:spLocks/>
          </p:cNvSpPr>
          <p:nvPr userDrawn="1"/>
        </p:nvSpPr>
        <p:spPr>
          <a:xfrm>
            <a:off x="182020" y="6365442"/>
            <a:ext cx="478315" cy="231169"/>
          </a:xfrm>
          <a:prstGeom prst="rect">
            <a:avLst/>
          </a:prstGeom>
        </p:spPr>
        <p:txBody>
          <a:bodyPr vert="horz"/>
          <a:lstStyle>
            <a:lvl1pPr marL="0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 baseline="0">
                <a:solidFill>
                  <a:srgbClr val="898C8F"/>
                </a:solidFill>
                <a:latin typeface="+mj-lt"/>
                <a:ea typeface="+mn-ea"/>
                <a:cs typeface="+mn-cs"/>
              </a:defRPr>
            </a:lvl1pPr>
            <a:lvl2pPr marL="457178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2pPr>
            <a:lvl3pPr marL="914354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3pPr>
            <a:lvl4pPr marL="1371532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4pPr>
            <a:lvl5pPr marL="1828709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5pPr>
            <a:lvl6pPr marL="21748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6pPr>
            <a:lvl7pPr marL="26320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7pPr>
            <a:lvl8pPr marL="30892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8pPr>
            <a:lvl9pPr marL="35464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l"/>
            <a:fld id="{C0D4A90D-707C-4CFA-8F87-17CF45DE2B45}" type="slidenum">
              <a:rPr lang="en-US" sz="900" smtClean="0">
                <a:solidFill>
                  <a:srgbClr val="95D600"/>
                </a:solidFill>
              </a:rPr>
              <a:pPr algn="l"/>
              <a:t>‹#›</a:t>
            </a:fld>
            <a:endParaRPr lang="en-US" sz="900" dirty="0"/>
          </a:p>
        </p:txBody>
      </p:sp>
      <p:cxnSp>
        <p:nvCxnSpPr>
          <p:cNvPr id="7" name="Straight Connector 6"/>
          <p:cNvCxnSpPr/>
          <p:nvPr userDrawn="1"/>
        </p:nvCxnSpPr>
        <p:spPr bwMode="auto">
          <a:xfrm flipH="1">
            <a:off x="0" y="6302465"/>
            <a:ext cx="12192000" cy="0"/>
          </a:xfrm>
          <a:prstGeom prst="line">
            <a:avLst/>
          </a:prstGeom>
          <a:solidFill>
            <a:schemeClr val="accent1"/>
          </a:solidFill>
          <a:ln w="19050" cap="flat" cmpd="dbl" algn="ctr">
            <a:noFill/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0" name="Rectangle 9"/>
          <p:cNvSpPr/>
          <p:nvPr userDrawn="1"/>
        </p:nvSpPr>
        <p:spPr bwMode="auto">
          <a:xfrm>
            <a:off x="0" y="0"/>
            <a:ext cx="12192000" cy="1074396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Palatino Linotype" pitchFamily="18" charset="0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287453" y="1"/>
            <a:ext cx="11623035" cy="1011420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Rectangle 11"/>
          <p:cNvSpPr/>
          <p:nvPr userDrawn="1"/>
        </p:nvSpPr>
        <p:spPr bwMode="auto">
          <a:xfrm>
            <a:off x="0" y="1074396"/>
            <a:ext cx="12192000" cy="151354"/>
          </a:xfrm>
          <a:prstGeom prst="rect">
            <a:avLst/>
          </a:prstGeom>
          <a:solidFill>
            <a:schemeClr val="accent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Palatino Linotype" pitchFamily="18" charset="0"/>
            </a:endParaRPr>
          </a:p>
        </p:txBody>
      </p:sp>
      <p:sp>
        <p:nvSpPr>
          <p:cNvPr id="13" name="Rectangle 14"/>
          <p:cNvSpPr>
            <a:spLocks noGrp="1" noChangeArrowheads="1"/>
          </p:cNvSpPr>
          <p:nvPr>
            <p:ph idx="1"/>
          </p:nvPr>
        </p:nvSpPr>
        <p:spPr bwMode="auto">
          <a:xfrm>
            <a:off x="287453" y="1403682"/>
            <a:ext cx="3654227" cy="47653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6" name="Rectangle 14"/>
          <p:cNvSpPr>
            <a:spLocks noGrp="1" noChangeArrowheads="1"/>
          </p:cNvSpPr>
          <p:nvPr>
            <p:ph idx="12"/>
          </p:nvPr>
        </p:nvSpPr>
        <p:spPr bwMode="auto">
          <a:xfrm>
            <a:off x="4271857" y="1403682"/>
            <a:ext cx="3654227" cy="47653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7" name="Content Placeholder 14"/>
          <p:cNvSpPr>
            <a:spLocks noGrp="1" noChangeArrowheads="1"/>
          </p:cNvSpPr>
          <p:nvPr>
            <p:ph idx="13"/>
          </p:nvPr>
        </p:nvSpPr>
        <p:spPr bwMode="auto">
          <a:xfrm>
            <a:off x="8256261" y="1403682"/>
            <a:ext cx="3654227" cy="47653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4" name="Text Placeholder 18"/>
          <p:cNvSpPr txBox="1">
            <a:spLocks/>
          </p:cNvSpPr>
          <p:nvPr userDrawn="1"/>
        </p:nvSpPr>
        <p:spPr>
          <a:xfrm>
            <a:off x="412682" y="6370117"/>
            <a:ext cx="7770501" cy="205345"/>
          </a:xfrm>
          <a:prstGeom prst="rect">
            <a:avLst/>
          </a:prstGeom>
        </p:spPr>
        <p:txBody>
          <a:bodyPr vert="horz"/>
          <a:lstStyle>
            <a:lvl1pPr marL="0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 baseline="0">
                <a:solidFill>
                  <a:srgbClr val="898C8F"/>
                </a:solidFill>
                <a:latin typeface="+mj-lt"/>
                <a:ea typeface="+mn-ea"/>
                <a:cs typeface="+mn-cs"/>
              </a:defRPr>
            </a:lvl1pPr>
            <a:lvl2pPr marL="457178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2pPr>
            <a:lvl3pPr marL="914354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3pPr>
            <a:lvl4pPr marL="1371532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4pPr>
            <a:lvl5pPr marL="1828709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5pPr>
            <a:lvl6pPr marL="21748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6pPr>
            <a:lvl7pPr marL="26320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7pPr>
            <a:lvl8pPr marL="30892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8pPr>
            <a:lvl9pPr marL="35464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 sz="900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/ </a:t>
            </a:r>
            <a:r>
              <a:rPr lang="en-US" sz="900" kern="1200" cap="all" normalizeH="0" baseline="0" dirty="0">
                <a:solidFill>
                  <a:schemeClr val="accent1">
                    <a:lumMod val="60000"/>
                    <a:lumOff val="40000"/>
                  </a:schemeClr>
                </a:solidFill>
                <a:latin typeface="+mj-lt"/>
                <a:ea typeface="+mn-ea"/>
                <a:cs typeface="+mn-cs"/>
              </a:rPr>
              <a:t>©ECOFYS, A Navigant – A </a:t>
            </a:r>
            <a:r>
              <a:rPr lang="en-US" sz="900" kern="1200" cap="all" normalizeH="0" baseline="0" dirty="0" err="1">
                <a:solidFill>
                  <a:schemeClr val="accent1">
                    <a:lumMod val="60000"/>
                    <a:lumOff val="40000"/>
                  </a:schemeClr>
                </a:solidFill>
                <a:latin typeface="+mj-lt"/>
                <a:ea typeface="+mn-ea"/>
                <a:cs typeface="+mn-cs"/>
              </a:rPr>
              <a:t>Guidehouse</a:t>
            </a:r>
            <a:r>
              <a:rPr lang="en-US" sz="900" kern="1200" cap="all" normalizeH="0" baseline="0" dirty="0">
                <a:solidFill>
                  <a:schemeClr val="accent1">
                    <a:lumMod val="60000"/>
                    <a:lumOff val="40000"/>
                  </a:schemeClr>
                </a:solidFill>
                <a:latin typeface="+mj-lt"/>
                <a:ea typeface="+mn-ea"/>
                <a:cs typeface="+mn-cs"/>
              </a:rPr>
              <a:t> Company Company</a:t>
            </a:r>
            <a:r>
              <a:rPr lang="en-US" sz="900" baseline="0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. All rights Reserved</a:t>
            </a:r>
            <a:endParaRPr lang="en-US" sz="900" dirty="0">
              <a:solidFill>
                <a:schemeClr val="accent1">
                  <a:lumMod val="60000"/>
                  <a:lumOff val="40000"/>
                </a:schemeClr>
              </a:solidFill>
            </a:endParaRPr>
          </a:p>
        </p:txBody>
      </p:sp>
      <p:pic>
        <p:nvPicPr>
          <p:cNvPr id="15" name="Picture 13" descr="Mission_Statement_RGB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71520" y="6418194"/>
            <a:ext cx="2726267" cy="123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67723417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agline_Title Only_Gray 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Palatino Linotype" pitchFamily="18" charset="0"/>
            </a:endParaRPr>
          </a:p>
        </p:txBody>
      </p:sp>
      <p:cxnSp>
        <p:nvCxnSpPr>
          <p:cNvPr id="7" name="Straight Connector 6"/>
          <p:cNvCxnSpPr/>
          <p:nvPr userDrawn="1"/>
        </p:nvCxnSpPr>
        <p:spPr bwMode="auto">
          <a:xfrm flipH="1">
            <a:off x="0" y="6302465"/>
            <a:ext cx="12192000" cy="0"/>
          </a:xfrm>
          <a:prstGeom prst="line">
            <a:avLst/>
          </a:prstGeom>
          <a:solidFill>
            <a:schemeClr val="accent1"/>
          </a:solidFill>
          <a:ln w="19050" cap="flat" cmpd="dbl" algn="ctr">
            <a:noFill/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0" name="Rectangle 9"/>
          <p:cNvSpPr/>
          <p:nvPr userDrawn="1"/>
        </p:nvSpPr>
        <p:spPr bwMode="auto">
          <a:xfrm>
            <a:off x="0" y="0"/>
            <a:ext cx="12192000" cy="1074396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Palatino Linotype" pitchFamily="18" charset="0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287453" y="1"/>
            <a:ext cx="11623035" cy="1011420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Rectangle 11"/>
          <p:cNvSpPr/>
          <p:nvPr userDrawn="1"/>
        </p:nvSpPr>
        <p:spPr bwMode="auto">
          <a:xfrm>
            <a:off x="0" y="1074396"/>
            <a:ext cx="12192000" cy="151354"/>
          </a:xfrm>
          <a:prstGeom prst="rect">
            <a:avLst/>
          </a:prstGeom>
          <a:solidFill>
            <a:schemeClr val="accent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Palatino Linotype" pitchFamily="18" charset="0"/>
            </a:endParaRPr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14" hasCustomPrompt="1"/>
          </p:nvPr>
        </p:nvSpPr>
        <p:spPr>
          <a:xfrm>
            <a:off x="287453" y="1323975"/>
            <a:ext cx="11610331" cy="577850"/>
          </a:xfrm>
        </p:spPr>
        <p:txBody>
          <a:bodyPr/>
          <a:lstStyle>
            <a:lvl1pPr marL="0" indent="0">
              <a:buNone/>
              <a:defRPr b="1" baseline="0"/>
            </a:lvl1pPr>
            <a:lvl2pPr marL="236537" indent="0">
              <a:buNone/>
              <a:defRPr/>
            </a:lvl2pPr>
            <a:lvl3pPr marL="682625" indent="0">
              <a:buNone/>
              <a:defRPr/>
            </a:lvl3pPr>
            <a:lvl4pPr marL="1028700" indent="0">
              <a:buNone/>
              <a:defRPr/>
            </a:lvl4pPr>
            <a:lvl5pPr marL="1374775" indent="0">
              <a:buNone/>
              <a:defRPr/>
            </a:lvl5pPr>
          </a:lstStyle>
          <a:p>
            <a:pPr lvl="0"/>
            <a:r>
              <a:rPr lang="en-US" dirty="0"/>
              <a:t>Click to enter tagline text. </a:t>
            </a:r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304802" y="6250077"/>
            <a:ext cx="11592985" cy="0"/>
          </a:xfrm>
          <a:prstGeom prst="line">
            <a:avLst/>
          </a:prstGeom>
          <a:ln w="9525">
            <a:solidFill>
              <a:srgbClr val="555759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18"/>
          <p:cNvSpPr txBox="1">
            <a:spLocks/>
          </p:cNvSpPr>
          <p:nvPr userDrawn="1"/>
        </p:nvSpPr>
        <p:spPr>
          <a:xfrm>
            <a:off x="412682" y="6370117"/>
            <a:ext cx="7770501" cy="205345"/>
          </a:xfrm>
          <a:prstGeom prst="rect">
            <a:avLst/>
          </a:prstGeom>
        </p:spPr>
        <p:txBody>
          <a:bodyPr vert="horz"/>
          <a:lstStyle>
            <a:lvl1pPr marL="0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 baseline="0">
                <a:solidFill>
                  <a:srgbClr val="898C8F"/>
                </a:solidFill>
                <a:latin typeface="+mj-lt"/>
                <a:ea typeface="+mn-ea"/>
                <a:cs typeface="+mn-cs"/>
              </a:defRPr>
            </a:lvl1pPr>
            <a:lvl2pPr marL="457178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2pPr>
            <a:lvl3pPr marL="914354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3pPr>
            <a:lvl4pPr marL="1371532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4pPr>
            <a:lvl5pPr marL="1828709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5pPr>
            <a:lvl6pPr marL="21748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6pPr>
            <a:lvl7pPr marL="26320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7pPr>
            <a:lvl8pPr marL="30892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8pPr>
            <a:lvl9pPr marL="35464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 sz="900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/ </a:t>
            </a:r>
            <a:r>
              <a:rPr lang="en-US" sz="900" kern="1200" cap="all" normalizeH="0" baseline="0" dirty="0">
                <a:solidFill>
                  <a:schemeClr val="accent1">
                    <a:lumMod val="60000"/>
                    <a:lumOff val="40000"/>
                  </a:schemeClr>
                </a:solidFill>
                <a:latin typeface="+mj-lt"/>
                <a:ea typeface="+mn-ea"/>
                <a:cs typeface="+mn-cs"/>
              </a:rPr>
              <a:t>©ECOFYS, A Navigant – A </a:t>
            </a:r>
            <a:r>
              <a:rPr lang="en-US" sz="900" kern="1200" cap="all" normalizeH="0" baseline="0" dirty="0" err="1">
                <a:solidFill>
                  <a:schemeClr val="accent1">
                    <a:lumMod val="60000"/>
                    <a:lumOff val="40000"/>
                  </a:schemeClr>
                </a:solidFill>
                <a:latin typeface="+mj-lt"/>
                <a:ea typeface="+mn-ea"/>
                <a:cs typeface="+mn-cs"/>
              </a:rPr>
              <a:t>Guidehouse</a:t>
            </a:r>
            <a:r>
              <a:rPr lang="en-US" sz="900" kern="1200" cap="all" normalizeH="0" baseline="0" dirty="0">
                <a:solidFill>
                  <a:schemeClr val="accent1">
                    <a:lumMod val="60000"/>
                    <a:lumOff val="40000"/>
                  </a:schemeClr>
                </a:solidFill>
                <a:latin typeface="+mj-lt"/>
                <a:ea typeface="+mn-ea"/>
                <a:cs typeface="+mn-cs"/>
              </a:rPr>
              <a:t> Company Company</a:t>
            </a:r>
            <a:r>
              <a:rPr lang="en-US" sz="900" baseline="0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. All rights Reserved</a:t>
            </a:r>
            <a:endParaRPr lang="en-US" sz="900" dirty="0">
              <a:solidFill>
                <a:schemeClr val="accent1">
                  <a:lumMod val="60000"/>
                  <a:lumOff val="40000"/>
                </a:schemeClr>
              </a:solidFill>
            </a:endParaRPr>
          </a:p>
        </p:txBody>
      </p:sp>
      <p:pic>
        <p:nvPicPr>
          <p:cNvPr id="15" name="Picture 13" descr="Mission_Statement_RGB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71520" y="6418194"/>
            <a:ext cx="2726267" cy="123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6" name="Text Placeholder 18"/>
          <p:cNvSpPr txBox="1">
            <a:spLocks/>
          </p:cNvSpPr>
          <p:nvPr userDrawn="1"/>
        </p:nvSpPr>
        <p:spPr>
          <a:xfrm>
            <a:off x="182020" y="6365442"/>
            <a:ext cx="478315" cy="231169"/>
          </a:xfrm>
          <a:prstGeom prst="rect">
            <a:avLst/>
          </a:prstGeom>
        </p:spPr>
        <p:txBody>
          <a:bodyPr vert="horz"/>
          <a:lstStyle>
            <a:lvl1pPr marL="0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 baseline="0">
                <a:solidFill>
                  <a:srgbClr val="898C8F"/>
                </a:solidFill>
                <a:latin typeface="+mj-lt"/>
                <a:ea typeface="+mn-ea"/>
                <a:cs typeface="+mn-cs"/>
              </a:defRPr>
            </a:lvl1pPr>
            <a:lvl2pPr marL="457178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2pPr>
            <a:lvl3pPr marL="914354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3pPr>
            <a:lvl4pPr marL="1371532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4pPr>
            <a:lvl5pPr marL="1828709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5pPr>
            <a:lvl6pPr marL="21748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6pPr>
            <a:lvl7pPr marL="26320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7pPr>
            <a:lvl8pPr marL="30892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8pPr>
            <a:lvl9pPr marL="35464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l"/>
            <a:fld id="{C0D4A90D-707C-4CFA-8F87-17CF45DE2B45}" type="slidenum">
              <a:rPr lang="en-US" sz="900" smtClean="0">
                <a:solidFill>
                  <a:srgbClr val="95D600"/>
                </a:solidFill>
              </a:rPr>
              <a:pPr algn="l"/>
              <a:t>‹#›</a:t>
            </a:fld>
            <a:endParaRPr lang="en-US" sz="900" dirty="0"/>
          </a:p>
        </p:txBody>
      </p:sp>
    </p:spTree>
    <p:extLst>
      <p:ext uri="{BB962C8B-B14F-4D97-AF65-F5344CB8AC3E}">
        <p14:creationId xmlns:p14="http://schemas.microsoft.com/office/powerpoint/2010/main" val="23458395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wo_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1"/>
          <p:cNvSpPr>
            <a:spLocks noGrp="1"/>
          </p:cNvSpPr>
          <p:nvPr>
            <p:ph type="title"/>
          </p:nvPr>
        </p:nvSpPr>
        <p:spPr>
          <a:xfrm>
            <a:off x="622301" y="0"/>
            <a:ext cx="10941049" cy="846138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7" name="Inhaltsplatzhalter 2"/>
          <p:cNvSpPr>
            <a:spLocks noGrp="1"/>
          </p:cNvSpPr>
          <p:nvPr>
            <p:ph sz="half" idx="1"/>
          </p:nvPr>
        </p:nvSpPr>
        <p:spPr>
          <a:xfrm>
            <a:off x="622301" y="1192213"/>
            <a:ext cx="5367867" cy="5146675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8" name="Inhaltsplatzhalter 3"/>
          <p:cNvSpPr>
            <a:spLocks noGrp="1"/>
          </p:cNvSpPr>
          <p:nvPr>
            <p:ph sz="half" idx="2"/>
          </p:nvPr>
        </p:nvSpPr>
        <p:spPr>
          <a:xfrm>
            <a:off x="6193367" y="1192213"/>
            <a:ext cx="5369984" cy="5146675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9" name="Datumsplatzhalter 4"/>
          <p:cNvSpPr>
            <a:spLocks noGrp="1"/>
          </p:cNvSpPr>
          <p:nvPr>
            <p:ph type="dt" sz="half" idx="10"/>
          </p:nvPr>
        </p:nvSpPr>
        <p:spPr>
          <a:xfrm>
            <a:off x="2253052" y="6578600"/>
            <a:ext cx="869949" cy="133350"/>
          </a:xfrm>
        </p:spPr>
        <p:txBody>
          <a:bodyPr/>
          <a:lstStyle>
            <a:lvl1pPr>
              <a:defRPr/>
            </a:lvl1pPr>
          </a:lstStyle>
          <a:p>
            <a:fld id="{C9BD4F23-E76B-44C4-B99C-C259D939991E}" type="datetime1">
              <a:rPr lang="en-GB"/>
              <a:pPr/>
              <a:t>03/07/2020</a:t>
            </a:fld>
            <a:endParaRPr lang="en-GB" dirty="0"/>
          </a:p>
        </p:txBody>
      </p:sp>
      <p:sp>
        <p:nvSpPr>
          <p:cNvPr id="10" name="Fußzeilenplatzhalter 5"/>
          <p:cNvSpPr>
            <a:spLocks noGrp="1"/>
          </p:cNvSpPr>
          <p:nvPr>
            <p:ph type="ftr" sz="quarter" idx="11"/>
          </p:nvPr>
        </p:nvSpPr>
        <p:spPr>
          <a:xfrm>
            <a:off x="3230034" y="6578600"/>
            <a:ext cx="4792133" cy="173038"/>
          </a:xfrm>
        </p:spPr>
        <p:txBody>
          <a:bodyPr/>
          <a:lstStyle>
            <a:lvl1pPr>
              <a:defRPr/>
            </a:lvl1pPr>
          </a:lstStyle>
          <a:p>
            <a:r>
              <a:rPr lang="en-GB" dirty="0"/>
              <a:t>Name</a:t>
            </a:r>
          </a:p>
        </p:txBody>
      </p:sp>
      <p:sp>
        <p:nvSpPr>
          <p:cNvPr id="11" name="Foliennummernplatzhalter 6"/>
          <p:cNvSpPr>
            <a:spLocks noGrp="1"/>
          </p:cNvSpPr>
          <p:nvPr>
            <p:ph type="sldNum" sz="quarter" idx="12"/>
          </p:nvPr>
        </p:nvSpPr>
        <p:spPr>
          <a:xfrm>
            <a:off x="1" y="6578600"/>
            <a:ext cx="1369484" cy="147638"/>
          </a:xfrm>
        </p:spPr>
        <p:txBody>
          <a:bodyPr/>
          <a:lstStyle>
            <a:lvl1pPr>
              <a:defRPr/>
            </a:lvl1pPr>
          </a:lstStyle>
          <a:p>
            <a:fld id="{F8C92D98-CF1D-41BE-ACCF-242B5082D7FB}" type="slidenum">
              <a:rPr lang="en-GB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70326155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A2F8542F-706B-41EC-BB29-F4735E768B13}" type="datetime1">
              <a:rPr lang="en-US" smtClean="0">
                <a:solidFill>
                  <a:srgbClr val="000000"/>
                </a:solidFill>
              </a:rPr>
              <a:pPr/>
              <a:t>7/3/2020</a:t>
            </a:fld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>
                <a:solidFill>
                  <a:srgbClr val="000000"/>
                </a:solidFill>
              </a:rPr>
              <a:t>Corinna Klessmann and Fabian Wigand</a:t>
            </a:r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7051296D-C1C0-46AC-980A-14DBEA0E3F2D}" type="slidenum">
              <a:rPr lang="en-GB">
                <a:solidFill>
                  <a:srgbClr val="000000"/>
                </a:solidFill>
              </a:rPr>
              <a:pPr/>
              <a:t>‹#›</a:t>
            </a:fld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3129022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- Full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Placeholder 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3200" y="153462"/>
            <a:ext cx="11785600" cy="6553200"/>
          </a:xfrm>
          <a:prstGeom prst="rect">
            <a:avLst/>
          </a:prstGeom>
          <a:solidFill>
            <a:srgbClr val="CFCDC9"/>
          </a:solidFill>
        </p:spPr>
      </p:pic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203200" y="6520934"/>
            <a:ext cx="2844800" cy="184666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l">
              <a:defRPr sz="600" b="0" i="0">
                <a:solidFill>
                  <a:srgbClr val="FFFFFF"/>
                </a:solidFill>
                <a:latin typeface="Gill Sans MT"/>
                <a:cs typeface="Gill Sans MT"/>
              </a:defRPr>
            </a:lvl1pPr>
          </a:lstStyle>
          <a:p>
            <a:fld id="{40C00456-721A-A94C-800A-D5E7EE91C160}" type="datetime1">
              <a:rPr lang="en-US" smtClean="0"/>
              <a:pPr/>
              <a:t>7/3/2020</a:t>
            </a:fld>
            <a:endParaRPr lang="en-US" dirty="0"/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144000" y="6520934"/>
            <a:ext cx="2844800" cy="184666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r">
              <a:defRPr sz="600" b="0" i="0">
                <a:solidFill>
                  <a:srgbClr val="FFFFFF"/>
                </a:solidFill>
                <a:latin typeface="Gill Sans MT"/>
                <a:cs typeface="Gill Sans MT"/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Title 1"/>
          <p:cNvSpPr>
            <a:spLocks noGrp="1"/>
          </p:cNvSpPr>
          <p:nvPr>
            <p:ph type="ctrTitle" hasCustomPrompt="1"/>
          </p:nvPr>
        </p:nvSpPr>
        <p:spPr>
          <a:xfrm>
            <a:off x="914400" y="2133600"/>
            <a:ext cx="7315200" cy="1600200"/>
          </a:xfrm>
          <a:effectLst>
            <a:outerShdw blurRad="254000" dir="2700000" algn="tl" rotWithShape="0">
              <a:srgbClr val="000000">
                <a:alpha val="20000"/>
              </a:srgbClr>
            </a:outerShdw>
          </a:effectLst>
        </p:spPr>
        <p:txBody>
          <a:bodyPr anchor="b" anchorCtr="0">
            <a:normAutofit/>
          </a:bodyPr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914400" y="4114800"/>
            <a:ext cx="4572000" cy="1600200"/>
          </a:xfrm>
          <a:effectLst>
            <a:outerShdw blurRad="254000" dir="5400000" algn="tl" rotWithShape="0">
              <a:srgbClr val="000000">
                <a:alpha val="40000"/>
              </a:srgbClr>
            </a:outerShdw>
          </a:effectLst>
        </p:spPr>
        <p:txBody>
          <a:bodyPr>
            <a:normAutofit/>
          </a:bodyPr>
          <a:lstStyle>
            <a:lvl1pPr marL="0" indent="0" algn="l">
              <a:buNone/>
              <a:defRPr sz="180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 rot="16200000">
            <a:off x="10494089" y="1431666"/>
            <a:ext cx="2743200" cy="184666"/>
          </a:xfrm>
        </p:spPr>
        <p:txBody>
          <a:bodyPr>
            <a:spAutoFit/>
          </a:bodyPr>
          <a:lstStyle>
            <a:lvl1pPr marL="0" indent="0" algn="r">
              <a:buNone/>
              <a:defRPr sz="600" baseline="0">
                <a:solidFill>
                  <a:schemeClr val="bg1"/>
                </a:solidFill>
              </a:defRPr>
            </a:lvl1pPr>
            <a:lvl2pPr marL="230187" indent="0">
              <a:buNone/>
              <a:defRPr sz="1800">
                <a:solidFill>
                  <a:schemeClr val="bg1"/>
                </a:solidFill>
              </a:defRPr>
            </a:lvl2pPr>
            <a:lvl3pPr marL="460375" indent="0">
              <a:buNone/>
              <a:defRPr sz="1600">
                <a:solidFill>
                  <a:schemeClr val="bg1"/>
                </a:solidFill>
              </a:defRPr>
            </a:lvl3pPr>
            <a:lvl4pPr marL="684212" indent="0">
              <a:buNone/>
              <a:defRPr sz="1400">
                <a:solidFill>
                  <a:schemeClr val="bg1"/>
                </a:solidFill>
              </a:defRPr>
            </a:lvl4pPr>
            <a:lvl5pPr marL="1025525" indent="0"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PHOTO CREDIT HERE</a:t>
            </a:r>
          </a:p>
        </p:txBody>
      </p:sp>
      <p:pic>
        <p:nvPicPr>
          <p:cNvPr id="15" name="Picture 14" descr="USAID_Logo_White_v02.pn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11740" y="685800"/>
            <a:ext cx="2438400" cy="544010"/>
          </a:xfrm>
          <a:prstGeom prst="rect">
            <a:avLst/>
          </a:prstGeom>
          <a:effectLst>
            <a:outerShdw blurRad="254000" dir="2700000" algn="tl" rotWithShape="0">
              <a:srgbClr val="000000">
                <a:alpha val="20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1899551438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- Full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e Placeholder 3"/>
          <p:cNvSpPr>
            <a:spLocks noGrp="1"/>
          </p:cNvSpPr>
          <p:nvPr>
            <p:ph type="dt" sz="half" idx="2"/>
          </p:nvPr>
        </p:nvSpPr>
        <p:spPr>
          <a:xfrm>
            <a:off x="203200" y="6520934"/>
            <a:ext cx="2844800" cy="184666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l">
              <a:defRPr sz="600" b="0" i="0">
                <a:solidFill>
                  <a:srgbClr val="FFFFFF"/>
                </a:solidFill>
                <a:latin typeface="Gill Sans MT"/>
                <a:cs typeface="Gill Sans MT"/>
              </a:defRPr>
            </a:lvl1pPr>
          </a:lstStyle>
          <a:p>
            <a:fld id="{EB2C8F94-9D67-854F-8417-3B884156945E}" type="datetime1">
              <a:rPr lang="en-US" smtClean="0"/>
              <a:pPr/>
              <a:t>7/3/2020</a:t>
            </a:fld>
            <a:endParaRPr lang="en-US" dirty="0"/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144000" y="6520934"/>
            <a:ext cx="2844800" cy="184666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r">
              <a:defRPr sz="600" b="0" i="0">
                <a:solidFill>
                  <a:srgbClr val="FFFFFF"/>
                </a:solidFill>
                <a:latin typeface="Gill Sans MT"/>
                <a:cs typeface="Gill Sans MT"/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Title 1"/>
          <p:cNvSpPr>
            <a:spLocks noGrp="1"/>
          </p:cNvSpPr>
          <p:nvPr>
            <p:ph type="ctrTitle" hasCustomPrompt="1"/>
          </p:nvPr>
        </p:nvSpPr>
        <p:spPr>
          <a:xfrm>
            <a:off x="914400" y="2133600"/>
            <a:ext cx="7315200" cy="1600200"/>
          </a:xfrm>
        </p:spPr>
        <p:txBody>
          <a:bodyPr anchor="b" anchorCtr="0">
            <a:normAutofit/>
          </a:bodyPr>
          <a:lstStyle>
            <a:lvl1pPr>
              <a:defRPr sz="3200"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5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914400" y="4114800"/>
            <a:ext cx="4572000" cy="1600200"/>
          </a:xfrm>
        </p:spPr>
        <p:txBody>
          <a:bodyPr>
            <a:normAutofit/>
          </a:bodyPr>
          <a:lstStyle>
            <a:lvl1pPr marL="0" indent="0" algn="l">
              <a:buNone/>
              <a:defRPr sz="1800">
                <a:solidFill>
                  <a:srgbClr val="FFFFFF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587541626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Divider - Full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524000" y="827782"/>
            <a:ext cx="7315200" cy="584775"/>
          </a:xfrm>
        </p:spPr>
        <p:txBody>
          <a:bodyPr wrap="square" anchor="t" anchorCtr="0">
            <a:spAutoFit/>
          </a:bodyPr>
          <a:lstStyle>
            <a:lvl1pPr>
              <a:defRPr sz="3200"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C3349C05-927F-3348-96DF-9086CF2761D6}" type="datetime1">
              <a:rPr lang="en-US" smtClean="0"/>
              <a:t>7/3/2020</a:t>
            </a:fld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07697902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d/Gray 1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914400" y="1600200"/>
            <a:ext cx="10363200" cy="4572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2"/>
          </p:nvPr>
        </p:nvSpPr>
        <p:spPr>
          <a:xfrm>
            <a:off x="203200" y="6520934"/>
            <a:ext cx="2844800" cy="184666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l">
              <a:defRPr sz="600" b="0" i="0">
                <a:solidFill>
                  <a:srgbClr val="6C6463"/>
                </a:solidFill>
                <a:latin typeface="Gill Sans MT"/>
                <a:cs typeface="Gill Sans MT"/>
              </a:defRPr>
            </a:lvl1pPr>
          </a:lstStyle>
          <a:p>
            <a:fld id="{414FB1AD-D69E-B741-965A-0BAE826C2FA6}" type="datetime1">
              <a:rPr lang="en-US" smtClean="0"/>
              <a:pPr/>
              <a:t>7/3/2020</a:t>
            </a:fld>
            <a:endParaRPr lang="en-US" dirty="0"/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144000" y="6520934"/>
            <a:ext cx="2844800" cy="184666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r">
              <a:defRPr sz="600" b="0" i="0">
                <a:solidFill>
                  <a:srgbClr val="6C6463"/>
                </a:solidFill>
                <a:latin typeface="Gill Sans MT"/>
                <a:cs typeface="Gill Sans MT"/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914805" y="848380"/>
            <a:ext cx="10363200" cy="523220"/>
          </a:xfrm>
        </p:spPr>
        <p:txBody>
          <a:bodyPr anchor="b" anchorCtr="0">
            <a:spAutoFit/>
          </a:bodyPr>
          <a:lstStyle>
            <a:lvl1pPr>
              <a:defRPr>
                <a:solidFill>
                  <a:srgbClr val="BA0C2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786835976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d/Gray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14805" y="1600200"/>
            <a:ext cx="5079595" cy="4572000"/>
          </a:xfrm>
        </p:spPr>
        <p:txBody>
          <a:bodyPr>
            <a:normAutofit/>
          </a:bodyPr>
          <a:lstStyle>
            <a:lvl1pPr>
              <a:defRPr sz="2000">
                <a:solidFill>
                  <a:srgbClr val="6C6463"/>
                </a:solidFill>
              </a:defRPr>
            </a:lvl1pPr>
            <a:lvl2pPr>
              <a:defRPr sz="1800">
                <a:solidFill>
                  <a:srgbClr val="6C6463"/>
                </a:solidFill>
              </a:defRPr>
            </a:lvl2pPr>
            <a:lvl3pPr>
              <a:defRPr sz="1600">
                <a:solidFill>
                  <a:srgbClr val="6C6463"/>
                </a:solidFill>
              </a:defRPr>
            </a:lvl3pPr>
            <a:lvl4pPr>
              <a:defRPr sz="1400">
                <a:solidFill>
                  <a:srgbClr val="6C6463"/>
                </a:solidFill>
              </a:defRPr>
            </a:lvl4pPr>
            <a:lvl5pPr>
              <a:defRPr sz="1600">
                <a:solidFill>
                  <a:srgbClr val="6C6463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1600200"/>
            <a:ext cx="5080405" cy="4572000"/>
          </a:xfrm>
        </p:spPr>
        <p:txBody>
          <a:bodyPr>
            <a:normAutofit/>
          </a:bodyPr>
          <a:lstStyle>
            <a:lvl1pPr>
              <a:defRPr sz="2000">
                <a:solidFill>
                  <a:srgbClr val="6C6463"/>
                </a:solidFill>
              </a:defRPr>
            </a:lvl1pPr>
            <a:lvl2pPr>
              <a:defRPr sz="1800">
                <a:solidFill>
                  <a:srgbClr val="6C6463"/>
                </a:solidFill>
              </a:defRPr>
            </a:lvl2pPr>
            <a:lvl3pPr>
              <a:defRPr sz="1600">
                <a:solidFill>
                  <a:srgbClr val="6C6463"/>
                </a:solidFill>
              </a:defRPr>
            </a:lvl3pPr>
            <a:lvl4pPr>
              <a:defRPr sz="1400">
                <a:solidFill>
                  <a:srgbClr val="6C6463"/>
                </a:solidFill>
              </a:defRPr>
            </a:lvl4pPr>
            <a:lvl5pPr>
              <a:defRPr sz="1600">
                <a:solidFill>
                  <a:srgbClr val="6C6463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6C6463"/>
                </a:solidFill>
              </a:defRPr>
            </a:lvl1pPr>
          </a:lstStyle>
          <a:p>
            <a:fld id="{AB18E012-EC0C-1649-A039-CB178266D114}" type="datetime1">
              <a:rPr lang="en-US" smtClean="0"/>
              <a:t>7/3/2020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6C6463"/>
                </a:solidFill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914805" y="848380"/>
            <a:ext cx="10363200" cy="523220"/>
          </a:xfrm>
        </p:spPr>
        <p:txBody>
          <a:bodyPr anchor="b" anchorCtr="0">
            <a:spAutoFit/>
          </a:bodyPr>
          <a:lstStyle>
            <a:lvl1pPr>
              <a:defRPr>
                <a:solidFill>
                  <a:srgbClr val="BA0C2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051264923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d/Gray 3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14805" y="1600200"/>
            <a:ext cx="3352395" cy="4572000"/>
          </a:xfrm>
        </p:spPr>
        <p:txBody>
          <a:bodyPr>
            <a:normAutofit/>
          </a:bodyPr>
          <a:lstStyle>
            <a:lvl1pPr>
              <a:defRPr sz="2000">
                <a:solidFill>
                  <a:srgbClr val="6C6463"/>
                </a:solidFill>
              </a:defRPr>
            </a:lvl1pPr>
            <a:lvl2pPr>
              <a:defRPr sz="1800">
                <a:solidFill>
                  <a:srgbClr val="6C6463"/>
                </a:solidFill>
              </a:defRPr>
            </a:lvl2pPr>
            <a:lvl3pPr>
              <a:defRPr sz="1600">
                <a:solidFill>
                  <a:srgbClr val="6C6463"/>
                </a:solidFill>
              </a:defRPr>
            </a:lvl3pPr>
            <a:lvl4pPr>
              <a:defRPr sz="1400">
                <a:solidFill>
                  <a:srgbClr val="6C6463"/>
                </a:solidFill>
              </a:defRPr>
            </a:lvl4pPr>
            <a:lvl5pPr>
              <a:defRPr sz="1600">
                <a:solidFill>
                  <a:srgbClr val="FFFFFF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7924800" y="1600200"/>
            <a:ext cx="3353205" cy="4572000"/>
          </a:xfrm>
        </p:spPr>
        <p:txBody>
          <a:bodyPr>
            <a:normAutofit/>
          </a:bodyPr>
          <a:lstStyle>
            <a:lvl1pPr>
              <a:defRPr sz="2000">
                <a:solidFill>
                  <a:srgbClr val="6C6463"/>
                </a:solidFill>
              </a:defRPr>
            </a:lvl1pPr>
            <a:lvl2pPr>
              <a:defRPr sz="1800">
                <a:solidFill>
                  <a:srgbClr val="6C6463"/>
                </a:solidFill>
              </a:defRPr>
            </a:lvl2pPr>
            <a:lvl3pPr>
              <a:defRPr sz="1600">
                <a:solidFill>
                  <a:srgbClr val="6C6463"/>
                </a:solidFill>
              </a:defRPr>
            </a:lvl3pPr>
            <a:lvl4pPr>
              <a:defRPr sz="1400">
                <a:solidFill>
                  <a:srgbClr val="6C6463"/>
                </a:solidFill>
              </a:defRPr>
            </a:lvl4pPr>
            <a:lvl5pPr>
              <a:defRPr sz="1600">
                <a:solidFill>
                  <a:srgbClr val="FFFFFF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6C6463"/>
                </a:solidFill>
              </a:defRPr>
            </a:lvl1pPr>
          </a:lstStyle>
          <a:p>
            <a:fld id="{39C62A9A-2216-F44B-AFF9-136AA601C377}" type="datetime1">
              <a:rPr lang="en-US" smtClean="0"/>
              <a:t>7/3/2020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6C6463"/>
                </a:solidFill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914805" y="848380"/>
            <a:ext cx="10363200" cy="523220"/>
          </a:xfrm>
        </p:spPr>
        <p:txBody>
          <a:bodyPr anchor="b" anchorCtr="0">
            <a:spAutoFit/>
          </a:bodyPr>
          <a:lstStyle>
            <a:lvl1pPr>
              <a:defRPr>
                <a:solidFill>
                  <a:srgbClr val="BA0C2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0" name="Content Placeholder 3"/>
          <p:cNvSpPr>
            <a:spLocks noGrp="1"/>
          </p:cNvSpPr>
          <p:nvPr>
            <p:ph sz="half" idx="13"/>
          </p:nvPr>
        </p:nvSpPr>
        <p:spPr>
          <a:xfrm>
            <a:off x="4419398" y="1600200"/>
            <a:ext cx="3353205" cy="4572000"/>
          </a:xfrm>
        </p:spPr>
        <p:txBody>
          <a:bodyPr>
            <a:normAutofit/>
          </a:bodyPr>
          <a:lstStyle>
            <a:lvl1pPr>
              <a:defRPr sz="2000">
                <a:solidFill>
                  <a:srgbClr val="6C6463"/>
                </a:solidFill>
              </a:defRPr>
            </a:lvl1pPr>
            <a:lvl2pPr>
              <a:defRPr sz="1800">
                <a:solidFill>
                  <a:srgbClr val="6C6463"/>
                </a:solidFill>
              </a:defRPr>
            </a:lvl2pPr>
            <a:lvl3pPr>
              <a:defRPr sz="1600">
                <a:solidFill>
                  <a:srgbClr val="6C6463"/>
                </a:solidFill>
              </a:defRPr>
            </a:lvl3pPr>
            <a:lvl4pPr>
              <a:defRPr sz="1400">
                <a:solidFill>
                  <a:srgbClr val="6C6463"/>
                </a:solidFill>
              </a:defRPr>
            </a:lvl4pPr>
            <a:lvl5pPr>
              <a:defRPr sz="1600">
                <a:solidFill>
                  <a:srgbClr val="FFFFFF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83531556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Divider - Full Red">
    <p:bg>
      <p:bgPr>
        <a:solidFill>
          <a:srgbClr val="BA0C2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524000" y="827782"/>
            <a:ext cx="7315200" cy="584775"/>
          </a:xfrm>
        </p:spPr>
        <p:txBody>
          <a:bodyPr wrap="square" anchor="t" anchorCtr="0">
            <a:spAutoFit/>
          </a:bodyPr>
          <a:lstStyle>
            <a:lvl1pPr>
              <a:defRPr sz="3200"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6" name="Picture 5" descr="USAID_Logo_White_v02.png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14400" y="5943600"/>
            <a:ext cx="2049293" cy="457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3496371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d/Gray 1 Content + Bottom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3"/>
          <p:cNvSpPr>
            <a:spLocks noGrp="1"/>
          </p:cNvSpPr>
          <p:nvPr>
            <p:ph type="pic" sz="quarter" idx="10" hasCustomPrompt="1"/>
          </p:nvPr>
        </p:nvSpPr>
        <p:spPr>
          <a:xfrm>
            <a:off x="203200" y="3429000"/>
            <a:ext cx="11785600" cy="3276600"/>
          </a:xfrm>
          <a:solidFill>
            <a:schemeClr val="bg1"/>
          </a:solidFill>
        </p:spPr>
        <p:txBody>
          <a:bodyPr>
            <a:norm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>
                <a:solidFill>
                  <a:srgbClr val="6C6463"/>
                </a:solidFill>
              </a:defRPr>
            </a:lvl1pPr>
          </a:lstStyle>
          <a:p>
            <a:r>
              <a:rPr lang="en-US" dirty="0"/>
              <a:t>ADD PHOTO HER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914400" y="1600200"/>
            <a:ext cx="10363200" cy="1600200"/>
          </a:xfrm>
        </p:spPr>
        <p:txBody>
          <a:bodyPr/>
          <a:lstStyle>
            <a:lvl1pPr>
              <a:defRPr>
                <a:solidFill>
                  <a:srgbClr val="6C6463"/>
                </a:solidFill>
              </a:defRPr>
            </a:lvl1pPr>
            <a:lvl2pPr>
              <a:defRPr>
                <a:solidFill>
                  <a:srgbClr val="6C6463"/>
                </a:solidFill>
              </a:defRPr>
            </a:lvl2pPr>
            <a:lvl3pPr>
              <a:defRPr>
                <a:solidFill>
                  <a:srgbClr val="6C6463"/>
                </a:solidFill>
              </a:defRPr>
            </a:lvl3pPr>
            <a:lvl4pPr>
              <a:defRPr>
                <a:solidFill>
                  <a:srgbClr val="6C6463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203200" y="6520934"/>
            <a:ext cx="2844800" cy="184666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l">
              <a:defRPr sz="600" b="0" i="0">
                <a:solidFill>
                  <a:srgbClr val="FFFFFF"/>
                </a:solidFill>
                <a:latin typeface="Gill Sans MT"/>
                <a:cs typeface="Gill Sans MT"/>
              </a:defRPr>
            </a:lvl1pPr>
          </a:lstStyle>
          <a:p>
            <a:fld id="{193355D5-F1DA-0F48-9E7E-0A3FEBF9FF84}" type="datetime1">
              <a:rPr lang="en-US" smtClean="0"/>
              <a:pPr/>
              <a:t>7/3/2020</a:t>
            </a:fld>
            <a:endParaRPr lang="en-US" dirty="0"/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144000" y="6520934"/>
            <a:ext cx="2844800" cy="184666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r">
              <a:defRPr sz="600" b="0" i="0">
                <a:solidFill>
                  <a:srgbClr val="FFFFFF"/>
                </a:solidFill>
                <a:latin typeface="Gill Sans MT"/>
                <a:cs typeface="Gill Sans MT"/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>
          <a:xfrm>
            <a:off x="914805" y="848380"/>
            <a:ext cx="10363200" cy="523220"/>
          </a:xfrm>
        </p:spPr>
        <p:txBody>
          <a:bodyPr anchor="b" anchorCtr="0">
            <a:spAutoFit/>
          </a:bodyPr>
          <a:lstStyle>
            <a:lvl1pPr>
              <a:defRPr>
                <a:solidFill>
                  <a:srgbClr val="BA0C2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2" hasCustomPrompt="1"/>
          </p:nvPr>
        </p:nvSpPr>
        <p:spPr>
          <a:xfrm rot="16200000">
            <a:off x="10494089" y="4708266"/>
            <a:ext cx="2743200" cy="184666"/>
          </a:xfrm>
        </p:spPr>
        <p:txBody>
          <a:bodyPr>
            <a:spAutoFit/>
          </a:bodyPr>
          <a:lstStyle>
            <a:lvl1pPr marL="0" indent="0" algn="r">
              <a:buNone/>
              <a:defRPr sz="600" baseline="0">
                <a:solidFill>
                  <a:srgbClr val="FFFFFF"/>
                </a:solidFill>
              </a:defRPr>
            </a:lvl1pPr>
            <a:lvl2pPr marL="230187" indent="0">
              <a:buNone/>
              <a:defRPr sz="1800">
                <a:solidFill>
                  <a:schemeClr val="bg1"/>
                </a:solidFill>
              </a:defRPr>
            </a:lvl2pPr>
            <a:lvl3pPr marL="460375" indent="0">
              <a:buNone/>
              <a:defRPr sz="1600">
                <a:solidFill>
                  <a:schemeClr val="bg1"/>
                </a:solidFill>
              </a:defRPr>
            </a:lvl3pPr>
            <a:lvl4pPr marL="684212" indent="0">
              <a:buNone/>
              <a:defRPr sz="1400">
                <a:solidFill>
                  <a:schemeClr val="bg1"/>
                </a:solidFill>
              </a:defRPr>
            </a:lvl4pPr>
            <a:lvl5pPr marL="1025525" indent="0"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PHOTO CREDIT HERE</a:t>
            </a:r>
          </a:p>
        </p:txBody>
      </p:sp>
    </p:spTree>
    <p:extLst>
      <p:ext uri="{BB962C8B-B14F-4D97-AF65-F5344CB8AC3E}">
        <p14:creationId xmlns:p14="http://schemas.microsoft.com/office/powerpoint/2010/main" val="3244981847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d/Gray 1 Content + Right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3"/>
          <p:cNvSpPr>
            <a:spLocks noGrp="1"/>
          </p:cNvSpPr>
          <p:nvPr>
            <p:ph type="pic" sz="quarter" idx="10" hasCustomPrompt="1"/>
          </p:nvPr>
        </p:nvSpPr>
        <p:spPr>
          <a:xfrm>
            <a:off x="6096000" y="152400"/>
            <a:ext cx="5892800" cy="6553200"/>
          </a:xfrm>
          <a:solidFill>
            <a:srgbClr val="FFFFFF"/>
          </a:solidFill>
        </p:spPr>
        <p:txBody>
          <a:bodyPr>
            <a:norm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>
                <a:solidFill>
                  <a:srgbClr val="6C6463"/>
                </a:solidFill>
              </a:defRPr>
            </a:lvl1pPr>
          </a:lstStyle>
          <a:p>
            <a:r>
              <a:rPr lang="en-US" dirty="0"/>
              <a:t>ADD PHOTO HERE</a:t>
            </a:r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203200" y="6520934"/>
            <a:ext cx="2844800" cy="184666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l">
              <a:defRPr sz="600" b="0" i="0">
                <a:solidFill>
                  <a:srgbClr val="6C6463"/>
                </a:solidFill>
                <a:latin typeface="Gill Sans MT"/>
                <a:cs typeface="Gill Sans MT"/>
              </a:defRPr>
            </a:lvl1pPr>
          </a:lstStyle>
          <a:p>
            <a:fld id="{60FEB5C5-97E6-6B45-BBE4-F2449473BB96}" type="datetime1">
              <a:rPr lang="en-US" smtClean="0"/>
              <a:pPr/>
              <a:t>7/3/2020</a:t>
            </a:fld>
            <a:endParaRPr lang="en-US" dirty="0"/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144000" y="6520934"/>
            <a:ext cx="2844800" cy="184666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r">
              <a:defRPr sz="600" b="0" i="0">
                <a:solidFill>
                  <a:srgbClr val="FFFFFF"/>
                </a:solidFill>
                <a:latin typeface="Gill Sans MT"/>
                <a:cs typeface="Gill Sans MT"/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Content Placeholder 2"/>
          <p:cNvSpPr>
            <a:spLocks noGrp="1"/>
          </p:cNvSpPr>
          <p:nvPr>
            <p:ph idx="1"/>
          </p:nvPr>
        </p:nvSpPr>
        <p:spPr>
          <a:xfrm>
            <a:off x="914400" y="2057402"/>
            <a:ext cx="4876800" cy="4114799"/>
          </a:xfrm>
        </p:spPr>
        <p:txBody>
          <a:bodyPr>
            <a:normAutofit/>
          </a:bodyPr>
          <a:lstStyle>
            <a:lvl1pPr>
              <a:defRPr sz="2000">
                <a:solidFill>
                  <a:srgbClr val="6C6463"/>
                </a:solidFill>
              </a:defRPr>
            </a:lvl1pPr>
            <a:lvl2pPr>
              <a:defRPr sz="1800">
                <a:solidFill>
                  <a:srgbClr val="6C6463"/>
                </a:solidFill>
              </a:defRPr>
            </a:lvl2pPr>
            <a:lvl3pPr>
              <a:defRPr sz="1600">
                <a:solidFill>
                  <a:srgbClr val="6C6463"/>
                </a:solidFill>
              </a:defRPr>
            </a:lvl3pPr>
            <a:lvl4pPr>
              <a:defRPr sz="1400">
                <a:solidFill>
                  <a:srgbClr val="6C6463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914400" y="843985"/>
            <a:ext cx="4876395" cy="954107"/>
          </a:xfrm>
        </p:spPr>
        <p:txBody>
          <a:bodyPr wrap="square" anchor="b" anchorCtr="0">
            <a:spAutoFit/>
          </a:bodyPr>
          <a:lstStyle>
            <a:lvl1pPr>
              <a:defRPr>
                <a:solidFill>
                  <a:srgbClr val="BA0C2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2" hasCustomPrompt="1"/>
          </p:nvPr>
        </p:nvSpPr>
        <p:spPr>
          <a:xfrm rot="16200000">
            <a:off x="10494089" y="1431666"/>
            <a:ext cx="2743200" cy="184666"/>
          </a:xfrm>
        </p:spPr>
        <p:txBody>
          <a:bodyPr>
            <a:spAutoFit/>
          </a:bodyPr>
          <a:lstStyle>
            <a:lvl1pPr marL="0" indent="0" algn="r">
              <a:buNone/>
              <a:defRPr sz="600" baseline="0">
                <a:solidFill>
                  <a:srgbClr val="FFFFFF"/>
                </a:solidFill>
              </a:defRPr>
            </a:lvl1pPr>
            <a:lvl2pPr marL="230187" indent="0">
              <a:buNone/>
              <a:defRPr sz="1800">
                <a:solidFill>
                  <a:schemeClr val="bg1"/>
                </a:solidFill>
              </a:defRPr>
            </a:lvl2pPr>
            <a:lvl3pPr marL="460375" indent="0">
              <a:buNone/>
              <a:defRPr sz="1600">
                <a:solidFill>
                  <a:schemeClr val="bg1"/>
                </a:solidFill>
              </a:defRPr>
            </a:lvl3pPr>
            <a:lvl4pPr marL="684212" indent="0">
              <a:buNone/>
              <a:defRPr sz="1400">
                <a:solidFill>
                  <a:schemeClr val="bg1"/>
                </a:solidFill>
              </a:defRPr>
            </a:lvl4pPr>
            <a:lvl5pPr marL="1025525" indent="0"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PHOTO CREDIT HERE</a:t>
            </a:r>
          </a:p>
        </p:txBody>
      </p:sp>
    </p:spTree>
    <p:extLst>
      <p:ext uri="{BB962C8B-B14F-4D97-AF65-F5344CB8AC3E}">
        <p14:creationId xmlns:p14="http://schemas.microsoft.com/office/powerpoint/2010/main" val="2894382871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d/Gray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3"/>
          <p:cNvSpPr>
            <a:spLocks noGrp="1"/>
          </p:cNvSpPr>
          <p:nvPr>
            <p:ph type="pic" sz="quarter" idx="10" hasCustomPrompt="1"/>
          </p:nvPr>
        </p:nvSpPr>
        <p:spPr>
          <a:xfrm>
            <a:off x="203200" y="152400"/>
            <a:ext cx="5892800" cy="6553200"/>
          </a:xfrm>
          <a:solidFill>
            <a:srgbClr val="FFFFFF"/>
          </a:solidFill>
        </p:spPr>
        <p:txBody>
          <a:bodyPr>
            <a:norm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>
                <a:solidFill>
                  <a:srgbClr val="6C6463"/>
                </a:solidFill>
              </a:defRPr>
            </a:lvl1pPr>
          </a:lstStyle>
          <a:p>
            <a:r>
              <a:rPr lang="en-US" dirty="0"/>
              <a:t>ADD PHOTO HERE</a:t>
            </a:r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203200" y="6520934"/>
            <a:ext cx="2844800" cy="184666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l">
              <a:defRPr sz="600" b="0" i="0">
                <a:solidFill>
                  <a:schemeClr val="bg1"/>
                </a:solidFill>
                <a:latin typeface="Gill Sans MT"/>
                <a:cs typeface="Gill Sans MT"/>
              </a:defRPr>
            </a:lvl1pPr>
          </a:lstStyle>
          <a:p>
            <a:fld id="{60FEB5C5-97E6-6B45-BBE4-F2449473BB96}" type="datetime1">
              <a:rPr lang="en-US" smtClean="0"/>
              <a:pPr/>
              <a:t>7/3/2020</a:t>
            </a:fld>
            <a:endParaRPr lang="en-US" dirty="0"/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144000" y="6520934"/>
            <a:ext cx="2844800" cy="184666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r">
              <a:defRPr sz="600" b="0" i="0">
                <a:solidFill>
                  <a:srgbClr val="6C6463"/>
                </a:solidFill>
                <a:latin typeface="Gill Sans MT"/>
                <a:cs typeface="Gill Sans MT"/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2" hasCustomPrompt="1"/>
          </p:nvPr>
        </p:nvSpPr>
        <p:spPr>
          <a:xfrm rot="16200000">
            <a:off x="4601289" y="1431666"/>
            <a:ext cx="2743200" cy="184666"/>
          </a:xfrm>
        </p:spPr>
        <p:txBody>
          <a:bodyPr>
            <a:spAutoFit/>
          </a:bodyPr>
          <a:lstStyle>
            <a:lvl1pPr marL="0" indent="0" algn="r">
              <a:buNone/>
              <a:defRPr sz="600" baseline="0">
                <a:solidFill>
                  <a:srgbClr val="FFFFFF"/>
                </a:solidFill>
              </a:defRPr>
            </a:lvl1pPr>
            <a:lvl2pPr marL="230187" indent="0">
              <a:buNone/>
              <a:defRPr sz="1800">
                <a:solidFill>
                  <a:schemeClr val="bg1"/>
                </a:solidFill>
              </a:defRPr>
            </a:lvl2pPr>
            <a:lvl3pPr marL="460375" indent="0">
              <a:buNone/>
              <a:defRPr sz="1600">
                <a:solidFill>
                  <a:schemeClr val="bg1"/>
                </a:solidFill>
              </a:defRPr>
            </a:lvl3pPr>
            <a:lvl4pPr marL="684212" indent="0">
              <a:buNone/>
              <a:defRPr sz="1400">
                <a:solidFill>
                  <a:schemeClr val="bg1"/>
                </a:solidFill>
              </a:defRPr>
            </a:lvl4pPr>
            <a:lvl5pPr marL="1025525" indent="0"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PHOTO CREDIT HERE</a:t>
            </a:r>
          </a:p>
        </p:txBody>
      </p:sp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6502805" y="2971801"/>
            <a:ext cx="5181195" cy="954107"/>
          </a:xfrm>
        </p:spPr>
        <p:txBody>
          <a:bodyPr wrap="square" anchor="ctr" anchorCtr="0">
            <a:spAutoFit/>
          </a:bodyPr>
          <a:lstStyle>
            <a:lvl1pPr>
              <a:defRPr>
                <a:solidFill>
                  <a:srgbClr val="BA0C2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395285090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d/White 1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914400" y="1600200"/>
            <a:ext cx="10363200" cy="4572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2"/>
          </p:nvPr>
        </p:nvSpPr>
        <p:spPr>
          <a:xfrm>
            <a:off x="203200" y="6520934"/>
            <a:ext cx="2844800" cy="184666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l">
              <a:defRPr sz="600" b="0" i="0">
                <a:solidFill>
                  <a:srgbClr val="6C6463"/>
                </a:solidFill>
                <a:latin typeface="Gill Sans MT"/>
                <a:cs typeface="Gill Sans MT"/>
              </a:defRPr>
            </a:lvl1pPr>
          </a:lstStyle>
          <a:p>
            <a:fld id="{414FB1AD-D69E-B741-965A-0BAE826C2FA6}" type="datetime1">
              <a:rPr lang="en-US" smtClean="0"/>
              <a:pPr/>
              <a:t>7/3/2020</a:t>
            </a:fld>
            <a:endParaRPr lang="en-US" dirty="0"/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144000" y="6520934"/>
            <a:ext cx="2844800" cy="184666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r">
              <a:defRPr sz="600" b="0" i="0">
                <a:solidFill>
                  <a:srgbClr val="6C6463"/>
                </a:solidFill>
                <a:latin typeface="Gill Sans MT"/>
                <a:cs typeface="Gill Sans MT"/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914805" y="848380"/>
            <a:ext cx="10363200" cy="523220"/>
          </a:xfrm>
        </p:spPr>
        <p:txBody>
          <a:bodyPr anchor="b" anchorCtr="0">
            <a:spAutoFit/>
          </a:bodyPr>
          <a:lstStyle>
            <a:lvl1pPr>
              <a:defRPr>
                <a:solidFill>
                  <a:srgbClr val="BA0C2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301133646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d/White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14805" y="1600200"/>
            <a:ext cx="5079595" cy="4572000"/>
          </a:xfrm>
        </p:spPr>
        <p:txBody>
          <a:bodyPr>
            <a:normAutofit/>
          </a:bodyPr>
          <a:lstStyle>
            <a:lvl1pPr>
              <a:defRPr sz="2000">
                <a:solidFill>
                  <a:srgbClr val="6C6463"/>
                </a:solidFill>
              </a:defRPr>
            </a:lvl1pPr>
            <a:lvl2pPr>
              <a:defRPr sz="1800">
                <a:solidFill>
                  <a:srgbClr val="6C6463"/>
                </a:solidFill>
              </a:defRPr>
            </a:lvl2pPr>
            <a:lvl3pPr>
              <a:defRPr sz="1600">
                <a:solidFill>
                  <a:srgbClr val="6C6463"/>
                </a:solidFill>
              </a:defRPr>
            </a:lvl3pPr>
            <a:lvl4pPr>
              <a:defRPr sz="1400">
                <a:solidFill>
                  <a:srgbClr val="6C6463"/>
                </a:solidFill>
              </a:defRPr>
            </a:lvl4pPr>
            <a:lvl5pPr>
              <a:defRPr sz="1600">
                <a:solidFill>
                  <a:srgbClr val="6C6463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1600200"/>
            <a:ext cx="5080405" cy="4572000"/>
          </a:xfrm>
        </p:spPr>
        <p:txBody>
          <a:bodyPr>
            <a:normAutofit/>
          </a:bodyPr>
          <a:lstStyle>
            <a:lvl1pPr>
              <a:defRPr sz="2000">
                <a:solidFill>
                  <a:srgbClr val="6C6463"/>
                </a:solidFill>
              </a:defRPr>
            </a:lvl1pPr>
            <a:lvl2pPr>
              <a:defRPr sz="1800">
                <a:solidFill>
                  <a:srgbClr val="6C6463"/>
                </a:solidFill>
              </a:defRPr>
            </a:lvl2pPr>
            <a:lvl3pPr>
              <a:defRPr sz="1600">
                <a:solidFill>
                  <a:srgbClr val="6C6463"/>
                </a:solidFill>
              </a:defRPr>
            </a:lvl3pPr>
            <a:lvl4pPr>
              <a:defRPr sz="1400">
                <a:solidFill>
                  <a:srgbClr val="6C6463"/>
                </a:solidFill>
              </a:defRPr>
            </a:lvl4pPr>
            <a:lvl5pPr>
              <a:defRPr sz="1600">
                <a:solidFill>
                  <a:srgbClr val="6C6463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6C6463"/>
                </a:solidFill>
              </a:defRPr>
            </a:lvl1pPr>
          </a:lstStyle>
          <a:p>
            <a:fld id="{AB18E012-EC0C-1649-A039-CB178266D114}" type="datetime1">
              <a:rPr lang="en-US" smtClean="0"/>
              <a:t>7/3/2020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6C6463"/>
                </a:solidFill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914805" y="848380"/>
            <a:ext cx="10363200" cy="523220"/>
          </a:xfrm>
        </p:spPr>
        <p:txBody>
          <a:bodyPr anchor="b" anchorCtr="0">
            <a:spAutoFit/>
          </a:bodyPr>
          <a:lstStyle>
            <a:lvl1pPr>
              <a:defRPr>
                <a:solidFill>
                  <a:srgbClr val="BA0C2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637195899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d/White 3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14805" y="1600200"/>
            <a:ext cx="3352395" cy="4572000"/>
          </a:xfrm>
        </p:spPr>
        <p:txBody>
          <a:bodyPr>
            <a:normAutofit/>
          </a:bodyPr>
          <a:lstStyle>
            <a:lvl1pPr>
              <a:defRPr sz="2000">
                <a:solidFill>
                  <a:srgbClr val="6C6463"/>
                </a:solidFill>
              </a:defRPr>
            </a:lvl1pPr>
            <a:lvl2pPr>
              <a:defRPr sz="1800">
                <a:solidFill>
                  <a:srgbClr val="6C6463"/>
                </a:solidFill>
              </a:defRPr>
            </a:lvl2pPr>
            <a:lvl3pPr>
              <a:defRPr sz="1600">
                <a:solidFill>
                  <a:srgbClr val="6C6463"/>
                </a:solidFill>
              </a:defRPr>
            </a:lvl3pPr>
            <a:lvl4pPr>
              <a:defRPr sz="1400">
                <a:solidFill>
                  <a:srgbClr val="6C6463"/>
                </a:solidFill>
              </a:defRPr>
            </a:lvl4pPr>
            <a:lvl5pPr>
              <a:defRPr sz="1600">
                <a:solidFill>
                  <a:srgbClr val="FFFFFF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7924800" y="1600200"/>
            <a:ext cx="3353205" cy="4572000"/>
          </a:xfrm>
        </p:spPr>
        <p:txBody>
          <a:bodyPr>
            <a:normAutofit/>
          </a:bodyPr>
          <a:lstStyle>
            <a:lvl1pPr>
              <a:defRPr sz="2000">
                <a:solidFill>
                  <a:srgbClr val="6C6463"/>
                </a:solidFill>
              </a:defRPr>
            </a:lvl1pPr>
            <a:lvl2pPr>
              <a:defRPr sz="1800">
                <a:solidFill>
                  <a:srgbClr val="6C6463"/>
                </a:solidFill>
              </a:defRPr>
            </a:lvl2pPr>
            <a:lvl3pPr>
              <a:defRPr sz="1600">
                <a:solidFill>
                  <a:srgbClr val="6C6463"/>
                </a:solidFill>
              </a:defRPr>
            </a:lvl3pPr>
            <a:lvl4pPr>
              <a:defRPr sz="1400">
                <a:solidFill>
                  <a:srgbClr val="6C6463"/>
                </a:solidFill>
              </a:defRPr>
            </a:lvl4pPr>
            <a:lvl5pPr>
              <a:defRPr sz="1600">
                <a:solidFill>
                  <a:srgbClr val="FFFFFF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6C6463"/>
                </a:solidFill>
              </a:defRPr>
            </a:lvl1pPr>
          </a:lstStyle>
          <a:p>
            <a:fld id="{39C62A9A-2216-F44B-AFF9-136AA601C377}" type="datetime1">
              <a:rPr lang="en-US" smtClean="0"/>
              <a:t>7/3/2020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6C6463"/>
                </a:solidFill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914805" y="848380"/>
            <a:ext cx="10363200" cy="523220"/>
          </a:xfrm>
        </p:spPr>
        <p:txBody>
          <a:bodyPr anchor="b" anchorCtr="0">
            <a:spAutoFit/>
          </a:bodyPr>
          <a:lstStyle>
            <a:lvl1pPr>
              <a:defRPr>
                <a:solidFill>
                  <a:srgbClr val="BA0C2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0" name="Content Placeholder 3"/>
          <p:cNvSpPr>
            <a:spLocks noGrp="1"/>
          </p:cNvSpPr>
          <p:nvPr>
            <p:ph sz="half" idx="13"/>
          </p:nvPr>
        </p:nvSpPr>
        <p:spPr>
          <a:xfrm>
            <a:off x="4419398" y="1600200"/>
            <a:ext cx="3353205" cy="4572000"/>
          </a:xfrm>
        </p:spPr>
        <p:txBody>
          <a:bodyPr>
            <a:normAutofit/>
          </a:bodyPr>
          <a:lstStyle>
            <a:lvl1pPr>
              <a:defRPr sz="2000">
                <a:solidFill>
                  <a:srgbClr val="6C6463"/>
                </a:solidFill>
              </a:defRPr>
            </a:lvl1pPr>
            <a:lvl2pPr>
              <a:defRPr sz="1800">
                <a:solidFill>
                  <a:srgbClr val="6C6463"/>
                </a:solidFill>
              </a:defRPr>
            </a:lvl2pPr>
            <a:lvl3pPr>
              <a:defRPr sz="1600">
                <a:solidFill>
                  <a:srgbClr val="6C6463"/>
                </a:solidFill>
              </a:defRPr>
            </a:lvl3pPr>
            <a:lvl4pPr>
              <a:defRPr sz="1400">
                <a:solidFill>
                  <a:srgbClr val="6C6463"/>
                </a:solidFill>
              </a:defRPr>
            </a:lvl4pPr>
            <a:lvl5pPr>
              <a:defRPr sz="1600">
                <a:solidFill>
                  <a:srgbClr val="FFFFFF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944754318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d/White 1 Content + Bottom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3"/>
          <p:cNvSpPr>
            <a:spLocks noGrp="1"/>
          </p:cNvSpPr>
          <p:nvPr>
            <p:ph type="pic" sz="quarter" idx="10" hasCustomPrompt="1"/>
          </p:nvPr>
        </p:nvSpPr>
        <p:spPr>
          <a:xfrm>
            <a:off x="203200" y="3429000"/>
            <a:ext cx="11785600" cy="3276600"/>
          </a:xfrm>
          <a:solidFill>
            <a:srgbClr val="E7E7E5"/>
          </a:solidFill>
        </p:spPr>
        <p:txBody>
          <a:bodyPr>
            <a:norm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>
                <a:solidFill>
                  <a:srgbClr val="6C6463"/>
                </a:solidFill>
              </a:defRPr>
            </a:lvl1pPr>
          </a:lstStyle>
          <a:p>
            <a:r>
              <a:rPr lang="en-US" dirty="0"/>
              <a:t>ADD PHOTO HER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914400" y="1600200"/>
            <a:ext cx="10363200" cy="1600200"/>
          </a:xfrm>
        </p:spPr>
        <p:txBody>
          <a:bodyPr/>
          <a:lstStyle>
            <a:lvl1pPr>
              <a:defRPr>
                <a:solidFill>
                  <a:srgbClr val="6C6463"/>
                </a:solidFill>
              </a:defRPr>
            </a:lvl1pPr>
            <a:lvl2pPr>
              <a:defRPr>
                <a:solidFill>
                  <a:srgbClr val="6C6463"/>
                </a:solidFill>
              </a:defRPr>
            </a:lvl2pPr>
            <a:lvl3pPr>
              <a:defRPr>
                <a:solidFill>
                  <a:srgbClr val="6C6463"/>
                </a:solidFill>
              </a:defRPr>
            </a:lvl3pPr>
            <a:lvl4pPr>
              <a:defRPr>
                <a:solidFill>
                  <a:srgbClr val="6C6463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203200" y="6520934"/>
            <a:ext cx="2844800" cy="184666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l">
              <a:defRPr sz="600" b="0" i="0">
                <a:solidFill>
                  <a:srgbClr val="FFFFFF"/>
                </a:solidFill>
                <a:latin typeface="Gill Sans MT"/>
                <a:cs typeface="Gill Sans MT"/>
              </a:defRPr>
            </a:lvl1pPr>
          </a:lstStyle>
          <a:p>
            <a:fld id="{193355D5-F1DA-0F48-9E7E-0A3FEBF9FF84}" type="datetime1">
              <a:rPr lang="en-US" smtClean="0"/>
              <a:pPr/>
              <a:t>7/3/2020</a:t>
            </a:fld>
            <a:endParaRPr lang="en-US" dirty="0"/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144000" y="6520934"/>
            <a:ext cx="2844800" cy="184666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r">
              <a:defRPr sz="600" b="0" i="0">
                <a:solidFill>
                  <a:srgbClr val="FFFFFF"/>
                </a:solidFill>
                <a:latin typeface="Gill Sans MT"/>
                <a:cs typeface="Gill Sans MT"/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>
          <a:xfrm>
            <a:off x="914805" y="848380"/>
            <a:ext cx="10363200" cy="523220"/>
          </a:xfrm>
        </p:spPr>
        <p:txBody>
          <a:bodyPr anchor="b" anchorCtr="0">
            <a:spAutoFit/>
          </a:bodyPr>
          <a:lstStyle>
            <a:lvl1pPr>
              <a:defRPr>
                <a:solidFill>
                  <a:srgbClr val="BA0C2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2" hasCustomPrompt="1"/>
          </p:nvPr>
        </p:nvSpPr>
        <p:spPr>
          <a:xfrm rot="16200000">
            <a:off x="10494089" y="4708266"/>
            <a:ext cx="2743200" cy="184666"/>
          </a:xfrm>
        </p:spPr>
        <p:txBody>
          <a:bodyPr>
            <a:spAutoFit/>
          </a:bodyPr>
          <a:lstStyle>
            <a:lvl1pPr marL="0" indent="0" algn="r">
              <a:buNone/>
              <a:defRPr sz="600" baseline="0">
                <a:solidFill>
                  <a:srgbClr val="FFFFFF"/>
                </a:solidFill>
              </a:defRPr>
            </a:lvl1pPr>
            <a:lvl2pPr marL="230187" indent="0">
              <a:buNone/>
              <a:defRPr sz="1800">
                <a:solidFill>
                  <a:schemeClr val="bg1"/>
                </a:solidFill>
              </a:defRPr>
            </a:lvl2pPr>
            <a:lvl3pPr marL="460375" indent="0">
              <a:buNone/>
              <a:defRPr sz="1600">
                <a:solidFill>
                  <a:schemeClr val="bg1"/>
                </a:solidFill>
              </a:defRPr>
            </a:lvl3pPr>
            <a:lvl4pPr marL="684212" indent="0">
              <a:buNone/>
              <a:defRPr sz="1400">
                <a:solidFill>
                  <a:schemeClr val="bg1"/>
                </a:solidFill>
              </a:defRPr>
            </a:lvl4pPr>
            <a:lvl5pPr marL="1025525" indent="0"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PHOTO CREDIT HERE</a:t>
            </a:r>
          </a:p>
        </p:txBody>
      </p:sp>
    </p:spTree>
    <p:extLst>
      <p:ext uri="{BB962C8B-B14F-4D97-AF65-F5344CB8AC3E}">
        <p14:creationId xmlns:p14="http://schemas.microsoft.com/office/powerpoint/2010/main" val="222381586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d/White 1 Content + Right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3"/>
          <p:cNvSpPr>
            <a:spLocks noGrp="1"/>
          </p:cNvSpPr>
          <p:nvPr>
            <p:ph type="pic" sz="quarter" idx="10" hasCustomPrompt="1"/>
          </p:nvPr>
        </p:nvSpPr>
        <p:spPr>
          <a:xfrm>
            <a:off x="6096000" y="152400"/>
            <a:ext cx="5892800" cy="6553200"/>
          </a:xfrm>
          <a:solidFill>
            <a:srgbClr val="E7E7E5"/>
          </a:solidFill>
        </p:spPr>
        <p:txBody>
          <a:bodyPr>
            <a:norm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>
                <a:solidFill>
                  <a:srgbClr val="6C6463"/>
                </a:solidFill>
              </a:defRPr>
            </a:lvl1pPr>
          </a:lstStyle>
          <a:p>
            <a:r>
              <a:rPr lang="en-US" dirty="0"/>
              <a:t>ADD PHOTO HERE</a:t>
            </a:r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203200" y="6520934"/>
            <a:ext cx="2844800" cy="184666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l">
              <a:defRPr sz="600" b="0" i="0">
                <a:solidFill>
                  <a:srgbClr val="6C6463"/>
                </a:solidFill>
                <a:latin typeface="Gill Sans MT"/>
                <a:cs typeface="Gill Sans MT"/>
              </a:defRPr>
            </a:lvl1pPr>
          </a:lstStyle>
          <a:p>
            <a:fld id="{60FEB5C5-97E6-6B45-BBE4-F2449473BB96}" type="datetime1">
              <a:rPr lang="en-US" smtClean="0"/>
              <a:pPr/>
              <a:t>7/3/2020</a:t>
            </a:fld>
            <a:endParaRPr lang="en-US" dirty="0"/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144000" y="6520934"/>
            <a:ext cx="2844800" cy="184666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r">
              <a:defRPr sz="600" b="0" i="0">
                <a:solidFill>
                  <a:srgbClr val="FFFFFF"/>
                </a:solidFill>
                <a:latin typeface="Gill Sans MT"/>
                <a:cs typeface="Gill Sans MT"/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Content Placeholder 2"/>
          <p:cNvSpPr>
            <a:spLocks noGrp="1"/>
          </p:cNvSpPr>
          <p:nvPr>
            <p:ph idx="1"/>
          </p:nvPr>
        </p:nvSpPr>
        <p:spPr>
          <a:xfrm>
            <a:off x="914400" y="2057402"/>
            <a:ext cx="4876800" cy="4114799"/>
          </a:xfrm>
        </p:spPr>
        <p:txBody>
          <a:bodyPr>
            <a:normAutofit/>
          </a:bodyPr>
          <a:lstStyle>
            <a:lvl1pPr>
              <a:defRPr sz="2000">
                <a:solidFill>
                  <a:srgbClr val="6C6463"/>
                </a:solidFill>
              </a:defRPr>
            </a:lvl1pPr>
            <a:lvl2pPr>
              <a:defRPr sz="1800">
                <a:solidFill>
                  <a:srgbClr val="6C6463"/>
                </a:solidFill>
              </a:defRPr>
            </a:lvl2pPr>
            <a:lvl3pPr>
              <a:defRPr sz="1600">
                <a:solidFill>
                  <a:srgbClr val="6C6463"/>
                </a:solidFill>
              </a:defRPr>
            </a:lvl3pPr>
            <a:lvl4pPr>
              <a:defRPr sz="1400">
                <a:solidFill>
                  <a:srgbClr val="6C6463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914400" y="843985"/>
            <a:ext cx="4876395" cy="954107"/>
          </a:xfrm>
        </p:spPr>
        <p:txBody>
          <a:bodyPr wrap="square" anchor="b" anchorCtr="0">
            <a:spAutoFit/>
          </a:bodyPr>
          <a:lstStyle>
            <a:lvl1pPr>
              <a:defRPr>
                <a:solidFill>
                  <a:srgbClr val="BA0C2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2" hasCustomPrompt="1"/>
          </p:nvPr>
        </p:nvSpPr>
        <p:spPr>
          <a:xfrm rot="16200000">
            <a:off x="10494089" y="1431666"/>
            <a:ext cx="2743200" cy="184666"/>
          </a:xfrm>
        </p:spPr>
        <p:txBody>
          <a:bodyPr>
            <a:spAutoFit/>
          </a:bodyPr>
          <a:lstStyle>
            <a:lvl1pPr marL="0" indent="0" algn="r">
              <a:buNone/>
              <a:defRPr sz="600" baseline="0">
                <a:solidFill>
                  <a:srgbClr val="FFFFFF"/>
                </a:solidFill>
              </a:defRPr>
            </a:lvl1pPr>
            <a:lvl2pPr marL="230187" indent="0">
              <a:buNone/>
              <a:defRPr sz="1800">
                <a:solidFill>
                  <a:schemeClr val="bg1"/>
                </a:solidFill>
              </a:defRPr>
            </a:lvl2pPr>
            <a:lvl3pPr marL="460375" indent="0">
              <a:buNone/>
              <a:defRPr sz="1600">
                <a:solidFill>
                  <a:schemeClr val="bg1"/>
                </a:solidFill>
              </a:defRPr>
            </a:lvl3pPr>
            <a:lvl4pPr marL="684212" indent="0">
              <a:buNone/>
              <a:defRPr sz="1400">
                <a:solidFill>
                  <a:schemeClr val="bg1"/>
                </a:solidFill>
              </a:defRPr>
            </a:lvl4pPr>
            <a:lvl5pPr marL="1025525" indent="0"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PHOTO CREDIT HERE</a:t>
            </a:r>
          </a:p>
        </p:txBody>
      </p:sp>
    </p:spTree>
    <p:extLst>
      <p:ext uri="{BB962C8B-B14F-4D97-AF65-F5344CB8AC3E}">
        <p14:creationId xmlns:p14="http://schemas.microsoft.com/office/powerpoint/2010/main" val="27764366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d/White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3"/>
          <p:cNvSpPr>
            <a:spLocks noGrp="1"/>
          </p:cNvSpPr>
          <p:nvPr>
            <p:ph type="pic" sz="quarter" idx="10" hasCustomPrompt="1"/>
          </p:nvPr>
        </p:nvSpPr>
        <p:spPr>
          <a:xfrm>
            <a:off x="203200" y="152400"/>
            <a:ext cx="5892800" cy="6553200"/>
          </a:xfrm>
          <a:solidFill>
            <a:srgbClr val="E7E7E5"/>
          </a:solidFill>
        </p:spPr>
        <p:txBody>
          <a:bodyPr>
            <a:norm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>
                <a:solidFill>
                  <a:srgbClr val="6C6463"/>
                </a:solidFill>
              </a:defRPr>
            </a:lvl1pPr>
          </a:lstStyle>
          <a:p>
            <a:r>
              <a:rPr lang="en-US" dirty="0"/>
              <a:t>ADD PHOTO HERE</a:t>
            </a:r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203200" y="6520934"/>
            <a:ext cx="2844800" cy="184666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l">
              <a:defRPr sz="600" b="0" i="0">
                <a:solidFill>
                  <a:schemeClr val="bg1"/>
                </a:solidFill>
                <a:latin typeface="Gill Sans MT"/>
                <a:cs typeface="Gill Sans MT"/>
              </a:defRPr>
            </a:lvl1pPr>
          </a:lstStyle>
          <a:p>
            <a:fld id="{60FEB5C5-97E6-6B45-BBE4-F2449473BB96}" type="datetime1">
              <a:rPr lang="en-US" smtClean="0"/>
              <a:pPr/>
              <a:t>7/3/2020</a:t>
            </a:fld>
            <a:endParaRPr lang="en-US" dirty="0"/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144000" y="6520934"/>
            <a:ext cx="2844800" cy="184666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r">
              <a:defRPr sz="600" b="0" i="0">
                <a:solidFill>
                  <a:srgbClr val="6C6463"/>
                </a:solidFill>
                <a:latin typeface="Gill Sans MT"/>
                <a:cs typeface="Gill Sans MT"/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2" hasCustomPrompt="1"/>
          </p:nvPr>
        </p:nvSpPr>
        <p:spPr>
          <a:xfrm rot="16200000">
            <a:off x="4601289" y="1431666"/>
            <a:ext cx="2743200" cy="184666"/>
          </a:xfrm>
        </p:spPr>
        <p:txBody>
          <a:bodyPr>
            <a:spAutoFit/>
          </a:bodyPr>
          <a:lstStyle>
            <a:lvl1pPr marL="0" indent="0" algn="r">
              <a:buNone/>
              <a:defRPr sz="600" baseline="0">
                <a:solidFill>
                  <a:srgbClr val="FFFFFF"/>
                </a:solidFill>
              </a:defRPr>
            </a:lvl1pPr>
            <a:lvl2pPr marL="230187" indent="0">
              <a:buNone/>
              <a:defRPr sz="1800">
                <a:solidFill>
                  <a:schemeClr val="bg1"/>
                </a:solidFill>
              </a:defRPr>
            </a:lvl2pPr>
            <a:lvl3pPr marL="460375" indent="0">
              <a:buNone/>
              <a:defRPr sz="1600">
                <a:solidFill>
                  <a:schemeClr val="bg1"/>
                </a:solidFill>
              </a:defRPr>
            </a:lvl3pPr>
            <a:lvl4pPr marL="684212" indent="0">
              <a:buNone/>
              <a:defRPr sz="1400">
                <a:solidFill>
                  <a:schemeClr val="bg1"/>
                </a:solidFill>
              </a:defRPr>
            </a:lvl4pPr>
            <a:lvl5pPr marL="1025525" indent="0"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PHOTO CREDIT HERE</a:t>
            </a:r>
          </a:p>
        </p:txBody>
      </p:sp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6502805" y="2971801"/>
            <a:ext cx="5181195" cy="954107"/>
          </a:xfrm>
        </p:spPr>
        <p:txBody>
          <a:bodyPr wrap="square" anchor="ctr" anchorCtr="0">
            <a:spAutoFit/>
          </a:bodyPr>
          <a:lstStyle>
            <a:lvl1pPr>
              <a:defRPr>
                <a:solidFill>
                  <a:srgbClr val="BA0C2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573061517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 Inf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Placeholder 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3201" y="139700"/>
            <a:ext cx="11785599" cy="6553199"/>
          </a:xfrm>
          <a:prstGeom prst="rect">
            <a:avLst/>
          </a:prstGeom>
        </p:spPr>
      </p:pic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 rot="16200000">
            <a:off x="10494089" y="1431666"/>
            <a:ext cx="2743200" cy="184666"/>
          </a:xfrm>
        </p:spPr>
        <p:txBody>
          <a:bodyPr>
            <a:spAutoFit/>
          </a:bodyPr>
          <a:lstStyle>
            <a:lvl1pPr marL="0" indent="0" algn="r">
              <a:buNone/>
              <a:defRPr sz="600" baseline="0">
                <a:solidFill>
                  <a:srgbClr val="FFFFFF"/>
                </a:solidFill>
              </a:defRPr>
            </a:lvl1pPr>
            <a:lvl2pPr marL="230187" indent="0">
              <a:buNone/>
              <a:defRPr sz="1800">
                <a:solidFill>
                  <a:schemeClr val="bg1"/>
                </a:solidFill>
              </a:defRPr>
            </a:lvl2pPr>
            <a:lvl3pPr marL="460375" indent="0">
              <a:buNone/>
              <a:defRPr sz="1600">
                <a:solidFill>
                  <a:schemeClr val="bg1"/>
                </a:solidFill>
              </a:defRPr>
            </a:lvl3pPr>
            <a:lvl4pPr marL="684212" indent="0">
              <a:buNone/>
              <a:defRPr sz="1400">
                <a:solidFill>
                  <a:schemeClr val="bg1"/>
                </a:solidFill>
              </a:defRPr>
            </a:lvl4pPr>
            <a:lvl5pPr marL="1025525" indent="0"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PHOTO CREDIT HERE</a:t>
            </a:r>
          </a:p>
        </p:txBody>
      </p:sp>
      <p:sp>
        <p:nvSpPr>
          <p:cNvPr id="6" name="Date Placeholder 3"/>
          <p:cNvSpPr>
            <a:spLocks noGrp="1"/>
          </p:cNvSpPr>
          <p:nvPr>
            <p:ph type="dt" sz="half" idx="2"/>
          </p:nvPr>
        </p:nvSpPr>
        <p:spPr>
          <a:xfrm>
            <a:off x="203200" y="6520934"/>
            <a:ext cx="2844800" cy="184666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l">
              <a:defRPr sz="600" b="0" i="0">
                <a:solidFill>
                  <a:srgbClr val="FFFFFF"/>
                </a:solidFill>
                <a:latin typeface="Gill Sans MT"/>
                <a:cs typeface="Gill Sans MT"/>
              </a:defRPr>
            </a:lvl1pPr>
          </a:lstStyle>
          <a:p>
            <a:fld id="{3F4168E2-91C5-9646-9F53-5B4E70AF759D}" type="datetime1">
              <a:rPr lang="en-US" smtClean="0"/>
              <a:pPr/>
              <a:t>7/3/2020</a:t>
            </a:fld>
            <a:endParaRPr lang="en-US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144000" y="6520934"/>
            <a:ext cx="2844800" cy="184666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r">
              <a:defRPr sz="600" b="0" i="0">
                <a:solidFill>
                  <a:srgbClr val="FFFFFF"/>
                </a:solidFill>
                <a:latin typeface="Gill Sans MT"/>
                <a:cs typeface="Gill Sans MT"/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9" name="Picture 8" descr="USAID_Logo_White_v02.pn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14400" y="5943600"/>
            <a:ext cx="2049293" cy="457200"/>
          </a:xfrm>
          <a:prstGeom prst="rect">
            <a:avLst/>
          </a:prstGeom>
        </p:spPr>
      </p:pic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914400" y="4114800"/>
            <a:ext cx="4572000" cy="1600200"/>
          </a:xfrm>
          <a:effectLst>
            <a:outerShdw blurRad="254000" dir="5400000" algn="tl" rotWithShape="0">
              <a:srgbClr val="000000">
                <a:alpha val="40000"/>
              </a:srgbClr>
            </a:outerShdw>
          </a:effectLst>
        </p:spPr>
        <p:txBody>
          <a:bodyPr>
            <a:normAutofit/>
          </a:bodyPr>
          <a:lstStyle>
            <a:lvl1pPr marL="0" indent="0" algn="l">
              <a:buNone/>
              <a:defRPr sz="180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78225477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d/Gray 1 Content">
    <p:bg>
      <p:bgPr>
        <a:solidFill>
          <a:srgbClr val="E7E7E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914400" y="1600200"/>
            <a:ext cx="10363200" cy="4572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2"/>
          </p:nvPr>
        </p:nvSpPr>
        <p:spPr>
          <a:xfrm>
            <a:off x="203200" y="6520934"/>
            <a:ext cx="2844800" cy="184666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l">
              <a:defRPr sz="600" b="0" i="0">
                <a:solidFill>
                  <a:srgbClr val="6C6463"/>
                </a:solidFill>
                <a:latin typeface="Gill Sans MT"/>
                <a:cs typeface="Gill Sans MT"/>
              </a:defRPr>
            </a:lvl1pPr>
          </a:lstStyle>
          <a:p>
            <a:endParaRPr lang="en-US" dirty="0"/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144000" y="6520934"/>
            <a:ext cx="2844800" cy="184666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r">
              <a:defRPr sz="600" b="0" i="0">
                <a:solidFill>
                  <a:srgbClr val="6C6463"/>
                </a:solidFill>
                <a:latin typeface="Gill Sans MT"/>
                <a:cs typeface="Gill Sans MT"/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914805" y="848380"/>
            <a:ext cx="10363200" cy="523220"/>
          </a:xfrm>
        </p:spPr>
        <p:txBody>
          <a:bodyPr anchor="b" anchorCtr="0">
            <a:spAutoFit/>
          </a:bodyPr>
          <a:lstStyle>
            <a:lvl1pPr>
              <a:defRPr>
                <a:solidFill>
                  <a:srgbClr val="BA0C2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116097268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- Full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USAID_Logo_White_v02.png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11740" y="685800"/>
            <a:ext cx="2438400" cy="544010"/>
          </a:xfrm>
          <a:prstGeom prst="rect">
            <a:avLst/>
          </a:prstGeom>
        </p:spPr>
      </p:pic>
      <p:sp>
        <p:nvSpPr>
          <p:cNvPr id="8" name="Date Placeholder 3"/>
          <p:cNvSpPr>
            <a:spLocks noGrp="1"/>
          </p:cNvSpPr>
          <p:nvPr>
            <p:ph type="dt" sz="half" idx="2"/>
          </p:nvPr>
        </p:nvSpPr>
        <p:spPr>
          <a:xfrm>
            <a:off x="203200" y="6520934"/>
            <a:ext cx="2844800" cy="184666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l">
              <a:defRPr sz="600" b="0" i="0">
                <a:solidFill>
                  <a:srgbClr val="FFFFFF"/>
                </a:solidFill>
                <a:latin typeface="Gill Sans MT"/>
                <a:cs typeface="Gill Sans MT"/>
              </a:defRPr>
            </a:lvl1pPr>
          </a:lstStyle>
          <a:p>
            <a:fld id="{EB2C8F94-9D67-854F-8417-3B884156945E}" type="datetime1">
              <a:rPr lang="en-US" smtClean="0"/>
              <a:pPr/>
              <a:t>7/3/2020</a:t>
            </a:fld>
            <a:endParaRPr lang="en-US" dirty="0"/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144000" y="6520934"/>
            <a:ext cx="2844800" cy="184666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r">
              <a:defRPr sz="600" b="0" i="0">
                <a:solidFill>
                  <a:srgbClr val="FFFFFF"/>
                </a:solidFill>
                <a:latin typeface="Gill Sans MT"/>
                <a:cs typeface="Gill Sans MT"/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Title 1"/>
          <p:cNvSpPr>
            <a:spLocks noGrp="1"/>
          </p:cNvSpPr>
          <p:nvPr>
            <p:ph type="ctrTitle" hasCustomPrompt="1"/>
          </p:nvPr>
        </p:nvSpPr>
        <p:spPr>
          <a:xfrm>
            <a:off x="914400" y="2133600"/>
            <a:ext cx="7315200" cy="1600200"/>
          </a:xfrm>
        </p:spPr>
        <p:txBody>
          <a:bodyPr anchor="b" anchorCtr="0">
            <a:normAutofit/>
          </a:bodyPr>
          <a:lstStyle>
            <a:lvl1pPr>
              <a:defRPr sz="3200"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5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914400" y="4114800"/>
            <a:ext cx="4572000" cy="1600200"/>
          </a:xfrm>
        </p:spPr>
        <p:txBody>
          <a:bodyPr>
            <a:normAutofit/>
          </a:bodyPr>
          <a:lstStyle>
            <a:lvl1pPr marL="0" indent="0" algn="l">
              <a:buNone/>
              <a:defRPr sz="1800">
                <a:solidFill>
                  <a:srgbClr val="FFFFFF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350516348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Divider - Full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524000" y="827782"/>
            <a:ext cx="7315200" cy="584775"/>
          </a:xfrm>
        </p:spPr>
        <p:txBody>
          <a:bodyPr wrap="square" anchor="t" anchorCtr="0">
            <a:spAutoFit/>
          </a:bodyPr>
          <a:lstStyle>
            <a:lvl1pPr>
              <a:defRPr sz="3200"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C3349C05-927F-3348-96DF-9086CF2761D6}" type="datetime1">
              <a:rPr lang="en-US" smtClean="0"/>
              <a:t>7/3/2020</a:t>
            </a:fld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6" name="Picture 5" descr="USAID_Logo_White_v02.png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14400" y="5943600"/>
            <a:ext cx="2049293" cy="457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12753293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/Gray 1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914400" y="1600200"/>
            <a:ext cx="10363200" cy="4572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2"/>
          </p:nvPr>
        </p:nvSpPr>
        <p:spPr>
          <a:xfrm>
            <a:off x="203200" y="6520934"/>
            <a:ext cx="2844800" cy="184666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l">
              <a:defRPr sz="600" b="0" i="0">
                <a:solidFill>
                  <a:srgbClr val="6C6463"/>
                </a:solidFill>
                <a:latin typeface="Gill Sans MT"/>
                <a:cs typeface="Gill Sans MT"/>
              </a:defRPr>
            </a:lvl1pPr>
          </a:lstStyle>
          <a:p>
            <a:fld id="{414FB1AD-D69E-B741-965A-0BAE826C2FA6}" type="datetime1">
              <a:rPr lang="en-US" smtClean="0"/>
              <a:pPr/>
              <a:t>7/3/2020</a:t>
            </a:fld>
            <a:endParaRPr lang="en-US" dirty="0"/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144000" y="6520934"/>
            <a:ext cx="2844800" cy="184666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r">
              <a:defRPr sz="600" b="0" i="0">
                <a:solidFill>
                  <a:srgbClr val="6C6463"/>
                </a:solidFill>
                <a:latin typeface="Gill Sans MT"/>
                <a:cs typeface="Gill Sans MT"/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914805" y="848380"/>
            <a:ext cx="10363200" cy="523220"/>
          </a:xfrm>
        </p:spPr>
        <p:txBody>
          <a:bodyPr anchor="b" anchorCtr="0">
            <a:spAutoFit/>
          </a:bodyPr>
          <a:lstStyle>
            <a:lvl1pPr>
              <a:defRPr>
                <a:solidFill>
                  <a:srgbClr val="0067B9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161177047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/Gray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14805" y="1600200"/>
            <a:ext cx="5079595" cy="4572000"/>
          </a:xfrm>
        </p:spPr>
        <p:txBody>
          <a:bodyPr>
            <a:normAutofit/>
          </a:bodyPr>
          <a:lstStyle>
            <a:lvl1pPr>
              <a:defRPr sz="2000">
                <a:solidFill>
                  <a:srgbClr val="6C6463"/>
                </a:solidFill>
              </a:defRPr>
            </a:lvl1pPr>
            <a:lvl2pPr>
              <a:defRPr sz="1800">
                <a:solidFill>
                  <a:srgbClr val="6C6463"/>
                </a:solidFill>
              </a:defRPr>
            </a:lvl2pPr>
            <a:lvl3pPr>
              <a:defRPr sz="1600">
                <a:solidFill>
                  <a:srgbClr val="6C6463"/>
                </a:solidFill>
              </a:defRPr>
            </a:lvl3pPr>
            <a:lvl4pPr>
              <a:defRPr sz="1400">
                <a:solidFill>
                  <a:srgbClr val="6C6463"/>
                </a:solidFill>
              </a:defRPr>
            </a:lvl4pPr>
            <a:lvl5pPr>
              <a:defRPr sz="1600">
                <a:solidFill>
                  <a:srgbClr val="6C6463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1600200"/>
            <a:ext cx="5080405" cy="4572000"/>
          </a:xfrm>
        </p:spPr>
        <p:txBody>
          <a:bodyPr>
            <a:normAutofit/>
          </a:bodyPr>
          <a:lstStyle>
            <a:lvl1pPr>
              <a:defRPr sz="2000">
                <a:solidFill>
                  <a:srgbClr val="6C6463"/>
                </a:solidFill>
              </a:defRPr>
            </a:lvl1pPr>
            <a:lvl2pPr>
              <a:defRPr sz="1800">
                <a:solidFill>
                  <a:srgbClr val="6C6463"/>
                </a:solidFill>
              </a:defRPr>
            </a:lvl2pPr>
            <a:lvl3pPr>
              <a:defRPr sz="1600">
                <a:solidFill>
                  <a:srgbClr val="6C6463"/>
                </a:solidFill>
              </a:defRPr>
            </a:lvl3pPr>
            <a:lvl4pPr>
              <a:defRPr sz="1400">
                <a:solidFill>
                  <a:srgbClr val="6C6463"/>
                </a:solidFill>
              </a:defRPr>
            </a:lvl4pPr>
            <a:lvl5pPr>
              <a:defRPr sz="1600">
                <a:solidFill>
                  <a:srgbClr val="6C6463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6C6463"/>
                </a:solidFill>
              </a:defRPr>
            </a:lvl1pPr>
          </a:lstStyle>
          <a:p>
            <a:fld id="{F1C838E6-2EFE-2E47-BF15-73F64BC0A44F}" type="datetime1">
              <a:rPr lang="en-US" smtClean="0"/>
              <a:t>7/3/2020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6C6463"/>
                </a:solidFill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914805" y="848380"/>
            <a:ext cx="10363200" cy="523220"/>
          </a:xfrm>
        </p:spPr>
        <p:txBody>
          <a:bodyPr anchor="b" anchorCtr="0">
            <a:spAutoFit/>
          </a:bodyPr>
          <a:lstStyle>
            <a:lvl1pPr>
              <a:defRPr>
                <a:solidFill>
                  <a:srgbClr val="0067B9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200128184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/Gray 3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14805" y="1600200"/>
            <a:ext cx="3352395" cy="4572000"/>
          </a:xfrm>
        </p:spPr>
        <p:txBody>
          <a:bodyPr>
            <a:normAutofit/>
          </a:bodyPr>
          <a:lstStyle>
            <a:lvl1pPr>
              <a:defRPr sz="2000">
                <a:solidFill>
                  <a:srgbClr val="6C6463"/>
                </a:solidFill>
              </a:defRPr>
            </a:lvl1pPr>
            <a:lvl2pPr>
              <a:defRPr sz="1800">
                <a:solidFill>
                  <a:srgbClr val="6C6463"/>
                </a:solidFill>
              </a:defRPr>
            </a:lvl2pPr>
            <a:lvl3pPr>
              <a:defRPr sz="1600">
                <a:solidFill>
                  <a:srgbClr val="6C6463"/>
                </a:solidFill>
              </a:defRPr>
            </a:lvl3pPr>
            <a:lvl4pPr>
              <a:defRPr sz="1400">
                <a:solidFill>
                  <a:srgbClr val="6C6463"/>
                </a:solidFill>
              </a:defRPr>
            </a:lvl4pPr>
            <a:lvl5pPr>
              <a:defRPr sz="1600">
                <a:solidFill>
                  <a:srgbClr val="FFFFFF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7924800" y="1600200"/>
            <a:ext cx="3353205" cy="4572000"/>
          </a:xfrm>
        </p:spPr>
        <p:txBody>
          <a:bodyPr>
            <a:normAutofit/>
          </a:bodyPr>
          <a:lstStyle>
            <a:lvl1pPr>
              <a:defRPr sz="2000">
                <a:solidFill>
                  <a:srgbClr val="6C6463"/>
                </a:solidFill>
              </a:defRPr>
            </a:lvl1pPr>
            <a:lvl2pPr>
              <a:defRPr sz="1800">
                <a:solidFill>
                  <a:srgbClr val="6C6463"/>
                </a:solidFill>
              </a:defRPr>
            </a:lvl2pPr>
            <a:lvl3pPr>
              <a:defRPr sz="1600">
                <a:solidFill>
                  <a:srgbClr val="6C6463"/>
                </a:solidFill>
              </a:defRPr>
            </a:lvl3pPr>
            <a:lvl4pPr>
              <a:defRPr sz="1400">
                <a:solidFill>
                  <a:srgbClr val="6C6463"/>
                </a:solidFill>
              </a:defRPr>
            </a:lvl4pPr>
            <a:lvl5pPr>
              <a:defRPr sz="1600">
                <a:solidFill>
                  <a:srgbClr val="FFFFFF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6C6463"/>
                </a:solidFill>
              </a:defRPr>
            </a:lvl1pPr>
          </a:lstStyle>
          <a:p>
            <a:fld id="{39C62A9A-2216-F44B-AFF9-136AA601C377}" type="datetime1">
              <a:rPr lang="en-US" smtClean="0"/>
              <a:t>7/3/2020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6C6463"/>
                </a:solidFill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914805" y="848380"/>
            <a:ext cx="10363200" cy="523220"/>
          </a:xfrm>
        </p:spPr>
        <p:txBody>
          <a:bodyPr anchor="b" anchorCtr="0">
            <a:spAutoFit/>
          </a:bodyPr>
          <a:lstStyle>
            <a:lvl1pPr>
              <a:defRPr>
                <a:solidFill>
                  <a:srgbClr val="0067B9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0" name="Content Placeholder 3"/>
          <p:cNvSpPr>
            <a:spLocks noGrp="1"/>
          </p:cNvSpPr>
          <p:nvPr>
            <p:ph sz="half" idx="13"/>
          </p:nvPr>
        </p:nvSpPr>
        <p:spPr>
          <a:xfrm>
            <a:off x="4419398" y="1600200"/>
            <a:ext cx="3353205" cy="4572000"/>
          </a:xfrm>
        </p:spPr>
        <p:txBody>
          <a:bodyPr>
            <a:normAutofit/>
          </a:bodyPr>
          <a:lstStyle>
            <a:lvl1pPr>
              <a:defRPr sz="2000">
                <a:solidFill>
                  <a:srgbClr val="6C6463"/>
                </a:solidFill>
              </a:defRPr>
            </a:lvl1pPr>
            <a:lvl2pPr>
              <a:defRPr sz="1800">
                <a:solidFill>
                  <a:srgbClr val="6C6463"/>
                </a:solidFill>
              </a:defRPr>
            </a:lvl2pPr>
            <a:lvl3pPr>
              <a:defRPr sz="1600">
                <a:solidFill>
                  <a:srgbClr val="6C6463"/>
                </a:solidFill>
              </a:defRPr>
            </a:lvl3pPr>
            <a:lvl4pPr>
              <a:defRPr sz="1400">
                <a:solidFill>
                  <a:srgbClr val="6C6463"/>
                </a:solidFill>
              </a:defRPr>
            </a:lvl4pPr>
            <a:lvl5pPr>
              <a:defRPr sz="1600">
                <a:solidFill>
                  <a:srgbClr val="FFFFFF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677180278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/Gray 1 Content + Bottom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3"/>
          <p:cNvSpPr>
            <a:spLocks noGrp="1"/>
          </p:cNvSpPr>
          <p:nvPr>
            <p:ph type="pic" sz="quarter" idx="10" hasCustomPrompt="1"/>
          </p:nvPr>
        </p:nvSpPr>
        <p:spPr>
          <a:xfrm>
            <a:off x="203200" y="3429000"/>
            <a:ext cx="11785600" cy="3276600"/>
          </a:xfrm>
          <a:solidFill>
            <a:schemeClr val="bg1"/>
          </a:solidFill>
        </p:spPr>
        <p:txBody>
          <a:bodyPr>
            <a:norm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>
                <a:solidFill>
                  <a:srgbClr val="6C6463"/>
                </a:solidFill>
              </a:defRPr>
            </a:lvl1pPr>
          </a:lstStyle>
          <a:p>
            <a:r>
              <a:rPr lang="en-US" dirty="0"/>
              <a:t>ADD PHOTO HERE</a:t>
            </a:r>
          </a:p>
        </p:txBody>
      </p:sp>
      <p:sp>
        <p:nvSpPr>
          <p:cNvPr id="16" name="Text Placeholder 4"/>
          <p:cNvSpPr>
            <a:spLocks noGrp="1"/>
          </p:cNvSpPr>
          <p:nvPr>
            <p:ph type="body" sz="quarter" idx="12" hasCustomPrompt="1"/>
          </p:nvPr>
        </p:nvSpPr>
        <p:spPr>
          <a:xfrm rot="16200000">
            <a:off x="10494089" y="4708266"/>
            <a:ext cx="2743200" cy="184666"/>
          </a:xfrm>
        </p:spPr>
        <p:txBody>
          <a:bodyPr>
            <a:spAutoFit/>
          </a:bodyPr>
          <a:lstStyle>
            <a:lvl1pPr marL="0" indent="0" algn="r">
              <a:buNone/>
              <a:defRPr sz="600" baseline="0">
                <a:solidFill>
                  <a:srgbClr val="FFFFFF"/>
                </a:solidFill>
              </a:defRPr>
            </a:lvl1pPr>
            <a:lvl2pPr marL="230187" indent="0">
              <a:buNone/>
              <a:defRPr sz="1800">
                <a:solidFill>
                  <a:schemeClr val="bg1"/>
                </a:solidFill>
              </a:defRPr>
            </a:lvl2pPr>
            <a:lvl3pPr marL="460375" indent="0">
              <a:buNone/>
              <a:defRPr sz="1600">
                <a:solidFill>
                  <a:schemeClr val="bg1"/>
                </a:solidFill>
              </a:defRPr>
            </a:lvl3pPr>
            <a:lvl4pPr marL="684212" indent="0">
              <a:buNone/>
              <a:defRPr sz="1400">
                <a:solidFill>
                  <a:schemeClr val="bg1"/>
                </a:solidFill>
              </a:defRPr>
            </a:lvl4pPr>
            <a:lvl5pPr marL="1025525" indent="0"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PHOTO CREDIT HER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914400" y="1600200"/>
            <a:ext cx="10363200" cy="1600200"/>
          </a:xfrm>
        </p:spPr>
        <p:txBody>
          <a:bodyPr/>
          <a:lstStyle>
            <a:lvl1pPr>
              <a:defRPr>
                <a:solidFill>
                  <a:srgbClr val="6C6463"/>
                </a:solidFill>
              </a:defRPr>
            </a:lvl1pPr>
            <a:lvl2pPr>
              <a:defRPr>
                <a:solidFill>
                  <a:srgbClr val="6C6463"/>
                </a:solidFill>
              </a:defRPr>
            </a:lvl2pPr>
            <a:lvl3pPr>
              <a:defRPr>
                <a:solidFill>
                  <a:srgbClr val="6C6463"/>
                </a:solidFill>
              </a:defRPr>
            </a:lvl3pPr>
            <a:lvl4pPr>
              <a:defRPr>
                <a:solidFill>
                  <a:srgbClr val="6C6463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203200" y="6520934"/>
            <a:ext cx="2844800" cy="184666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l">
              <a:defRPr sz="600" b="0" i="0">
                <a:solidFill>
                  <a:srgbClr val="FFFFFF"/>
                </a:solidFill>
                <a:latin typeface="Gill Sans MT"/>
                <a:cs typeface="Gill Sans MT"/>
              </a:defRPr>
            </a:lvl1pPr>
          </a:lstStyle>
          <a:p>
            <a:fld id="{BCCE5460-4FB7-5647-9AB1-CEF5116A5DCA}" type="datetime1">
              <a:rPr lang="en-US" smtClean="0"/>
              <a:pPr/>
              <a:t>7/3/2020</a:t>
            </a:fld>
            <a:endParaRPr lang="en-US" dirty="0"/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144000" y="6520934"/>
            <a:ext cx="2844800" cy="184666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r">
              <a:defRPr sz="600" b="0" i="0">
                <a:solidFill>
                  <a:srgbClr val="FFFFFF"/>
                </a:solidFill>
                <a:latin typeface="Gill Sans MT"/>
                <a:cs typeface="Gill Sans MT"/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>
          <a:xfrm>
            <a:off x="914805" y="848380"/>
            <a:ext cx="10363200" cy="523220"/>
          </a:xfrm>
        </p:spPr>
        <p:txBody>
          <a:bodyPr anchor="b" anchorCtr="0">
            <a:spAutoFit/>
          </a:bodyPr>
          <a:lstStyle>
            <a:lvl1pPr>
              <a:defRPr>
                <a:solidFill>
                  <a:srgbClr val="0067B9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084351364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/Gray 1 Content + Right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3"/>
          <p:cNvSpPr>
            <a:spLocks noGrp="1"/>
          </p:cNvSpPr>
          <p:nvPr>
            <p:ph type="pic" sz="quarter" idx="10" hasCustomPrompt="1"/>
          </p:nvPr>
        </p:nvSpPr>
        <p:spPr>
          <a:xfrm>
            <a:off x="6096000" y="152400"/>
            <a:ext cx="5892800" cy="6553200"/>
          </a:xfrm>
          <a:solidFill>
            <a:srgbClr val="FFFFFF"/>
          </a:solidFill>
        </p:spPr>
        <p:txBody>
          <a:bodyPr>
            <a:norm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>
                <a:solidFill>
                  <a:srgbClr val="6C6463"/>
                </a:solidFill>
              </a:defRPr>
            </a:lvl1pPr>
          </a:lstStyle>
          <a:p>
            <a:r>
              <a:rPr lang="en-US" dirty="0"/>
              <a:t>ADD PHOTO HERE</a:t>
            </a:r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203200" y="6520934"/>
            <a:ext cx="2844800" cy="184666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l">
              <a:defRPr sz="600" b="0" i="0">
                <a:solidFill>
                  <a:srgbClr val="6C6463"/>
                </a:solidFill>
                <a:latin typeface="Gill Sans MT"/>
                <a:cs typeface="Gill Sans MT"/>
              </a:defRPr>
            </a:lvl1pPr>
          </a:lstStyle>
          <a:p>
            <a:fld id="{7D8A49A0-1A63-6943-82D6-C193E6102C72}" type="datetime1">
              <a:rPr lang="en-US" smtClean="0"/>
              <a:pPr/>
              <a:t>7/3/2020</a:t>
            </a:fld>
            <a:endParaRPr lang="en-US" dirty="0"/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144000" y="6520934"/>
            <a:ext cx="2844800" cy="184666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r">
              <a:defRPr sz="600" b="0" i="0">
                <a:solidFill>
                  <a:srgbClr val="FFFFFF"/>
                </a:solidFill>
                <a:latin typeface="Gill Sans MT"/>
                <a:cs typeface="Gill Sans MT"/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Content Placeholder 2"/>
          <p:cNvSpPr>
            <a:spLocks noGrp="1"/>
          </p:cNvSpPr>
          <p:nvPr>
            <p:ph idx="1"/>
          </p:nvPr>
        </p:nvSpPr>
        <p:spPr>
          <a:xfrm>
            <a:off x="914400" y="2057400"/>
            <a:ext cx="4876800" cy="4114800"/>
          </a:xfrm>
        </p:spPr>
        <p:txBody>
          <a:bodyPr>
            <a:normAutofit/>
          </a:bodyPr>
          <a:lstStyle>
            <a:lvl1pPr>
              <a:defRPr sz="2000">
                <a:solidFill>
                  <a:srgbClr val="6C6463"/>
                </a:solidFill>
              </a:defRPr>
            </a:lvl1pPr>
            <a:lvl2pPr>
              <a:defRPr sz="1800">
                <a:solidFill>
                  <a:srgbClr val="6C6463"/>
                </a:solidFill>
              </a:defRPr>
            </a:lvl2pPr>
            <a:lvl3pPr>
              <a:defRPr sz="1600">
                <a:solidFill>
                  <a:srgbClr val="6C6463"/>
                </a:solidFill>
              </a:defRPr>
            </a:lvl3pPr>
            <a:lvl4pPr>
              <a:defRPr sz="1400">
                <a:solidFill>
                  <a:srgbClr val="6C6463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914400" y="843985"/>
            <a:ext cx="4876395" cy="954107"/>
          </a:xfrm>
        </p:spPr>
        <p:txBody>
          <a:bodyPr wrap="square" anchor="b" anchorCtr="0">
            <a:spAutoFit/>
          </a:bodyPr>
          <a:lstStyle>
            <a:lvl1pPr>
              <a:defRPr>
                <a:solidFill>
                  <a:srgbClr val="0067B9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2" hasCustomPrompt="1"/>
          </p:nvPr>
        </p:nvSpPr>
        <p:spPr>
          <a:xfrm rot="16200000">
            <a:off x="10494089" y="1431666"/>
            <a:ext cx="2743200" cy="184666"/>
          </a:xfrm>
        </p:spPr>
        <p:txBody>
          <a:bodyPr>
            <a:spAutoFit/>
          </a:bodyPr>
          <a:lstStyle>
            <a:lvl1pPr marL="0" indent="0" algn="r">
              <a:buNone/>
              <a:defRPr sz="600" baseline="0">
                <a:solidFill>
                  <a:srgbClr val="FFFFFF"/>
                </a:solidFill>
              </a:defRPr>
            </a:lvl1pPr>
            <a:lvl2pPr marL="230187" indent="0">
              <a:buNone/>
              <a:defRPr sz="1800">
                <a:solidFill>
                  <a:schemeClr val="bg1"/>
                </a:solidFill>
              </a:defRPr>
            </a:lvl2pPr>
            <a:lvl3pPr marL="460375" indent="0">
              <a:buNone/>
              <a:defRPr sz="1600">
                <a:solidFill>
                  <a:schemeClr val="bg1"/>
                </a:solidFill>
              </a:defRPr>
            </a:lvl3pPr>
            <a:lvl4pPr marL="684212" indent="0">
              <a:buNone/>
              <a:defRPr sz="1400">
                <a:solidFill>
                  <a:schemeClr val="bg1"/>
                </a:solidFill>
              </a:defRPr>
            </a:lvl4pPr>
            <a:lvl5pPr marL="1025525" indent="0"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PHOTO CREDIT HERE</a:t>
            </a:r>
          </a:p>
        </p:txBody>
      </p:sp>
    </p:spTree>
    <p:extLst>
      <p:ext uri="{BB962C8B-B14F-4D97-AF65-F5344CB8AC3E}">
        <p14:creationId xmlns:p14="http://schemas.microsoft.com/office/powerpoint/2010/main" val="3682713811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/Gray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3"/>
          <p:cNvSpPr>
            <a:spLocks noGrp="1"/>
          </p:cNvSpPr>
          <p:nvPr>
            <p:ph type="pic" sz="quarter" idx="10" hasCustomPrompt="1"/>
          </p:nvPr>
        </p:nvSpPr>
        <p:spPr>
          <a:xfrm>
            <a:off x="203200" y="152400"/>
            <a:ext cx="5892800" cy="6553200"/>
          </a:xfrm>
          <a:solidFill>
            <a:srgbClr val="FFFFFF"/>
          </a:solidFill>
        </p:spPr>
        <p:txBody>
          <a:bodyPr>
            <a:norm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>
                <a:solidFill>
                  <a:srgbClr val="6C6463"/>
                </a:solidFill>
              </a:defRPr>
            </a:lvl1pPr>
          </a:lstStyle>
          <a:p>
            <a:r>
              <a:rPr lang="en-US" dirty="0"/>
              <a:t>ADD PHOTO HERE</a:t>
            </a:r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203200" y="6520934"/>
            <a:ext cx="2844800" cy="184666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l">
              <a:defRPr sz="600" b="0" i="0">
                <a:solidFill>
                  <a:schemeClr val="bg1"/>
                </a:solidFill>
                <a:latin typeface="Gill Sans MT"/>
                <a:cs typeface="Gill Sans MT"/>
              </a:defRPr>
            </a:lvl1pPr>
          </a:lstStyle>
          <a:p>
            <a:fld id="{60FEB5C5-97E6-6B45-BBE4-F2449473BB96}" type="datetime1">
              <a:rPr lang="en-US" smtClean="0"/>
              <a:pPr/>
              <a:t>7/3/2020</a:t>
            </a:fld>
            <a:endParaRPr lang="en-US" dirty="0"/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144000" y="6520934"/>
            <a:ext cx="2844800" cy="184666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r">
              <a:defRPr sz="600" b="0" i="0">
                <a:solidFill>
                  <a:srgbClr val="6C6463"/>
                </a:solidFill>
                <a:latin typeface="Gill Sans MT"/>
                <a:cs typeface="Gill Sans MT"/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2" hasCustomPrompt="1"/>
          </p:nvPr>
        </p:nvSpPr>
        <p:spPr>
          <a:xfrm rot="16200000">
            <a:off x="4601289" y="1431666"/>
            <a:ext cx="2743200" cy="184666"/>
          </a:xfrm>
        </p:spPr>
        <p:txBody>
          <a:bodyPr>
            <a:spAutoFit/>
          </a:bodyPr>
          <a:lstStyle>
            <a:lvl1pPr marL="0" indent="0" algn="r">
              <a:buNone/>
              <a:defRPr sz="600" baseline="0">
                <a:solidFill>
                  <a:srgbClr val="FFFFFF"/>
                </a:solidFill>
              </a:defRPr>
            </a:lvl1pPr>
            <a:lvl2pPr marL="230187" indent="0">
              <a:buNone/>
              <a:defRPr sz="1800">
                <a:solidFill>
                  <a:schemeClr val="bg1"/>
                </a:solidFill>
              </a:defRPr>
            </a:lvl2pPr>
            <a:lvl3pPr marL="460375" indent="0">
              <a:buNone/>
              <a:defRPr sz="1600">
                <a:solidFill>
                  <a:schemeClr val="bg1"/>
                </a:solidFill>
              </a:defRPr>
            </a:lvl3pPr>
            <a:lvl4pPr marL="684212" indent="0">
              <a:buNone/>
              <a:defRPr sz="1400">
                <a:solidFill>
                  <a:schemeClr val="bg1"/>
                </a:solidFill>
              </a:defRPr>
            </a:lvl4pPr>
            <a:lvl5pPr marL="1025525" indent="0"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PHOTO CREDIT HERE</a:t>
            </a:r>
          </a:p>
        </p:txBody>
      </p:sp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6502805" y="2971801"/>
            <a:ext cx="5181195" cy="954107"/>
          </a:xfrm>
        </p:spPr>
        <p:txBody>
          <a:bodyPr wrap="square" anchor="b" anchorCtr="0">
            <a:spAutoFit/>
          </a:bodyPr>
          <a:lstStyle>
            <a:lvl1pPr>
              <a:defRPr>
                <a:solidFill>
                  <a:srgbClr val="0067B9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208015975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/White 1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914400" y="1600200"/>
            <a:ext cx="10363200" cy="4572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2"/>
          </p:nvPr>
        </p:nvSpPr>
        <p:spPr>
          <a:xfrm>
            <a:off x="203200" y="6520934"/>
            <a:ext cx="2844800" cy="184666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l">
              <a:defRPr sz="600" b="0" i="0">
                <a:solidFill>
                  <a:srgbClr val="6C6463"/>
                </a:solidFill>
                <a:latin typeface="Gill Sans MT"/>
                <a:cs typeface="Gill Sans MT"/>
              </a:defRPr>
            </a:lvl1pPr>
          </a:lstStyle>
          <a:p>
            <a:fld id="{414FB1AD-D69E-B741-965A-0BAE826C2FA6}" type="datetime1">
              <a:rPr lang="en-US" smtClean="0"/>
              <a:pPr/>
              <a:t>7/3/2020</a:t>
            </a:fld>
            <a:endParaRPr lang="en-US" dirty="0"/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144000" y="6520934"/>
            <a:ext cx="2844800" cy="184666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r">
              <a:defRPr sz="600" b="0" i="0">
                <a:solidFill>
                  <a:srgbClr val="6C6463"/>
                </a:solidFill>
                <a:latin typeface="Gill Sans MT"/>
                <a:cs typeface="Gill Sans MT"/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914805" y="848380"/>
            <a:ext cx="10363200" cy="523220"/>
          </a:xfrm>
        </p:spPr>
        <p:txBody>
          <a:bodyPr anchor="b" anchorCtr="0">
            <a:spAutoFit/>
          </a:bodyPr>
          <a:lstStyle>
            <a:lvl1pPr>
              <a:defRPr>
                <a:solidFill>
                  <a:srgbClr val="0067B9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709514139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/White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14805" y="1600200"/>
            <a:ext cx="5079595" cy="4572000"/>
          </a:xfrm>
        </p:spPr>
        <p:txBody>
          <a:bodyPr>
            <a:normAutofit/>
          </a:bodyPr>
          <a:lstStyle>
            <a:lvl1pPr>
              <a:defRPr sz="2000">
                <a:solidFill>
                  <a:srgbClr val="6C6463"/>
                </a:solidFill>
              </a:defRPr>
            </a:lvl1pPr>
            <a:lvl2pPr>
              <a:defRPr sz="1800">
                <a:solidFill>
                  <a:srgbClr val="6C6463"/>
                </a:solidFill>
              </a:defRPr>
            </a:lvl2pPr>
            <a:lvl3pPr>
              <a:defRPr sz="1600">
                <a:solidFill>
                  <a:srgbClr val="6C6463"/>
                </a:solidFill>
              </a:defRPr>
            </a:lvl3pPr>
            <a:lvl4pPr>
              <a:defRPr sz="1400">
                <a:solidFill>
                  <a:srgbClr val="6C6463"/>
                </a:solidFill>
              </a:defRPr>
            </a:lvl4pPr>
            <a:lvl5pPr>
              <a:defRPr sz="1600">
                <a:solidFill>
                  <a:srgbClr val="6C6463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1600200"/>
            <a:ext cx="5080405" cy="4572000"/>
          </a:xfrm>
        </p:spPr>
        <p:txBody>
          <a:bodyPr>
            <a:normAutofit/>
          </a:bodyPr>
          <a:lstStyle>
            <a:lvl1pPr>
              <a:defRPr sz="2000">
                <a:solidFill>
                  <a:srgbClr val="6C6463"/>
                </a:solidFill>
              </a:defRPr>
            </a:lvl1pPr>
            <a:lvl2pPr>
              <a:defRPr sz="1800">
                <a:solidFill>
                  <a:srgbClr val="6C6463"/>
                </a:solidFill>
              </a:defRPr>
            </a:lvl2pPr>
            <a:lvl3pPr>
              <a:defRPr sz="1600">
                <a:solidFill>
                  <a:srgbClr val="6C6463"/>
                </a:solidFill>
              </a:defRPr>
            </a:lvl3pPr>
            <a:lvl4pPr>
              <a:defRPr sz="1400">
                <a:solidFill>
                  <a:srgbClr val="6C6463"/>
                </a:solidFill>
              </a:defRPr>
            </a:lvl4pPr>
            <a:lvl5pPr>
              <a:defRPr sz="1600">
                <a:solidFill>
                  <a:srgbClr val="6C6463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6C6463"/>
                </a:solidFill>
              </a:defRPr>
            </a:lvl1pPr>
          </a:lstStyle>
          <a:p>
            <a:fld id="{F1C838E6-2EFE-2E47-BF15-73F64BC0A44F}" type="datetime1">
              <a:rPr lang="en-US" smtClean="0"/>
              <a:t>7/3/2020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6C6463"/>
                </a:solidFill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914805" y="848380"/>
            <a:ext cx="10363200" cy="523220"/>
          </a:xfrm>
        </p:spPr>
        <p:txBody>
          <a:bodyPr anchor="b" anchorCtr="0">
            <a:spAutoFit/>
          </a:bodyPr>
          <a:lstStyle>
            <a:lvl1pPr>
              <a:defRPr>
                <a:solidFill>
                  <a:srgbClr val="0067B9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50109564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907CC1E-9E87-4590-9E63-5AD3EB8E6F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11F1EFB-12C2-4D83-8950-8E5991EA7C1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42C7F57-1ED7-4099-9108-D42823301E2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54DD1F4-631A-41BC-BFC6-406640495C8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782948-4DBE-204D-AB9E-B65E067054A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54182361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/White 3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14805" y="1600200"/>
            <a:ext cx="3352395" cy="4572000"/>
          </a:xfrm>
        </p:spPr>
        <p:txBody>
          <a:bodyPr>
            <a:normAutofit/>
          </a:bodyPr>
          <a:lstStyle>
            <a:lvl1pPr>
              <a:defRPr sz="2000">
                <a:solidFill>
                  <a:srgbClr val="6C6463"/>
                </a:solidFill>
              </a:defRPr>
            </a:lvl1pPr>
            <a:lvl2pPr>
              <a:defRPr sz="1800">
                <a:solidFill>
                  <a:srgbClr val="6C6463"/>
                </a:solidFill>
              </a:defRPr>
            </a:lvl2pPr>
            <a:lvl3pPr>
              <a:defRPr sz="1600">
                <a:solidFill>
                  <a:srgbClr val="6C6463"/>
                </a:solidFill>
              </a:defRPr>
            </a:lvl3pPr>
            <a:lvl4pPr>
              <a:defRPr sz="1400">
                <a:solidFill>
                  <a:srgbClr val="6C6463"/>
                </a:solidFill>
              </a:defRPr>
            </a:lvl4pPr>
            <a:lvl5pPr>
              <a:defRPr sz="1600">
                <a:solidFill>
                  <a:srgbClr val="FFFFFF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7924800" y="1600200"/>
            <a:ext cx="3353205" cy="4572000"/>
          </a:xfrm>
        </p:spPr>
        <p:txBody>
          <a:bodyPr>
            <a:normAutofit/>
          </a:bodyPr>
          <a:lstStyle>
            <a:lvl1pPr>
              <a:defRPr sz="2000">
                <a:solidFill>
                  <a:srgbClr val="6C6463"/>
                </a:solidFill>
              </a:defRPr>
            </a:lvl1pPr>
            <a:lvl2pPr>
              <a:defRPr sz="1800">
                <a:solidFill>
                  <a:srgbClr val="6C6463"/>
                </a:solidFill>
              </a:defRPr>
            </a:lvl2pPr>
            <a:lvl3pPr>
              <a:defRPr sz="1600">
                <a:solidFill>
                  <a:srgbClr val="6C6463"/>
                </a:solidFill>
              </a:defRPr>
            </a:lvl3pPr>
            <a:lvl4pPr>
              <a:defRPr sz="1400">
                <a:solidFill>
                  <a:srgbClr val="6C6463"/>
                </a:solidFill>
              </a:defRPr>
            </a:lvl4pPr>
            <a:lvl5pPr>
              <a:defRPr sz="1600">
                <a:solidFill>
                  <a:srgbClr val="FFFFFF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6C6463"/>
                </a:solidFill>
              </a:defRPr>
            </a:lvl1pPr>
          </a:lstStyle>
          <a:p>
            <a:fld id="{39C62A9A-2216-F44B-AFF9-136AA601C377}" type="datetime1">
              <a:rPr lang="en-US" smtClean="0"/>
              <a:t>7/3/2020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6C6463"/>
                </a:solidFill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914805" y="848380"/>
            <a:ext cx="10363200" cy="523220"/>
          </a:xfrm>
        </p:spPr>
        <p:txBody>
          <a:bodyPr anchor="b" anchorCtr="0">
            <a:spAutoFit/>
          </a:bodyPr>
          <a:lstStyle>
            <a:lvl1pPr>
              <a:defRPr>
                <a:solidFill>
                  <a:srgbClr val="0067B9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0" name="Content Placeholder 3"/>
          <p:cNvSpPr>
            <a:spLocks noGrp="1"/>
          </p:cNvSpPr>
          <p:nvPr>
            <p:ph sz="half" idx="13"/>
          </p:nvPr>
        </p:nvSpPr>
        <p:spPr>
          <a:xfrm>
            <a:off x="4419398" y="1600200"/>
            <a:ext cx="3353205" cy="4572000"/>
          </a:xfrm>
        </p:spPr>
        <p:txBody>
          <a:bodyPr>
            <a:normAutofit/>
          </a:bodyPr>
          <a:lstStyle>
            <a:lvl1pPr>
              <a:defRPr sz="2000">
                <a:solidFill>
                  <a:srgbClr val="6C6463"/>
                </a:solidFill>
              </a:defRPr>
            </a:lvl1pPr>
            <a:lvl2pPr>
              <a:defRPr sz="1800">
                <a:solidFill>
                  <a:srgbClr val="6C6463"/>
                </a:solidFill>
              </a:defRPr>
            </a:lvl2pPr>
            <a:lvl3pPr>
              <a:defRPr sz="1600">
                <a:solidFill>
                  <a:srgbClr val="6C6463"/>
                </a:solidFill>
              </a:defRPr>
            </a:lvl3pPr>
            <a:lvl4pPr>
              <a:defRPr sz="1400">
                <a:solidFill>
                  <a:srgbClr val="6C6463"/>
                </a:solidFill>
              </a:defRPr>
            </a:lvl4pPr>
            <a:lvl5pPr>
              <a:defRPr sz="1600">
                <a:solidFill>
                  <a:srgbClr val="FFFFFF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411314689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/White 1 Content + Bottom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3"/>
          <p:cNvSpPr>
            <a:spLocks noGrp="1"/>
          </p:cNvSpPr>
          <p:nvPr>
            <p:ph type="pic" sz="quarter" idx="10" hasCustomPrompt="1"/>
          </p:nvPr>
        </p:nvSpPr>
        <p:spPr>
          <a:xfrm>
            <a:off x="203200" y="3429000"/>
            <a:ext cx="11785600" cy="3276600"/>
          </a:xfrm>
          <a:solidFill>
            <a:srgbClr val="E7E7E5"/>
          </a:solidFill>
        </p:spPr>
        <p:txBody>
          <a:bodyPr>
            <a:norm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>
                <a:solidFill>
                  <a:srgbClr val="6C6463"/>
                </a:solidFill>
              </a:defRPr>
            </a:lvl1pPr>
          </a:lstStyle>
          <a:p>
            <a:r>
              <a:rPr lang="en-US" dirty="0"/>
              <a:t>ADD PHOTO HERE</a:t>
            </a:r>
          </a:p>
        </p:txBody>
      </p:sp>
      <p:sp>
        <p:nvSpPr>
          <p:cNvPr id="16" name="Text Placeholder 4"/>
          <p:cNvSpPr>
            <a:spLocks noGrp="1"/>
          </p:cNvSpPr>
          <p:nvPr>
            <p:ph type="body" sz="quarter" idx="12" hasCustomPrompt="1"/>
          </p:nvPr>
        </p:nvSpPr>
        <p:spPr>
          <a:xfrm rot="16200000">
            <a:off x="10494089" y="4708266"/>
            <a:ext cx="2743200" cy="184666"/>
          </a:xfrm>
        </p:spPr>
        <p:txBody>
          <a:bodyPr>
            <a:spAutoFit/>
          </a:bodyPr>
          <a:lstStyle>
            <a:lvl1pPr marL="0" indent="0" algn="r">
              <a:buNone/>
              <a:defRPr sz="600" baseline="0">
                <a:solidFill>
                  <a:srgbClr val="FFFFFF"/>
                </a:solidFill>
              </a:defRPr>
            </a:lvl1pPr>
            <a:lvl2pPr marL="230187" indent="0">
              <a:buNone/>
              <a:defRPr sz="1800">
                <a:solidFill>
                  <a:schemeClr val="bg1"/>
                </a:solidFill>
              </a:defRPr>
            </a:lvl2pPr>
            <a:lvl3pPr marL="460375" indent="0">
              <a:buNone/>
              <a:defRPr sz="1600">
                <a:solidFill>
                  <a:schemeClr val="bg1"/>
                </a:solidFill>
              </a:defRPr>
            </a:lvl3pPr>
            <a:lvl4pPr marL="684212" indent="0">
              <a:buNone/>
              <a:defRPr sz="1400">
                <a:solidFill>
                  <a:schemeClr val="bg1"/>
                </a:solidFill>
              </a:defRPr>
            </a:lvl4pPr>
            <a:lvl5pPr marL="1025525" indent="0"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PHOTO CREDIT HER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914400" y="1600200"/>
            <a:ext cx="10363200" cy="1600200"/>
          </a:xfrm>
        </p:spPr>
        <p:txBody>
          <a:bodyPr/>
          <a:lstStyle>
            <a:lvl1pPr>
              <a:defRPr>
                <a:solidFill>
                  <a:srgbClr val="6C6463"/>
                </a:solidFill>
              </a:defRPr>
            </a:lvl1pPr>
            <a:lvl2pPr>
              <a:defRPr>
                <a:solidFill>
                  <a:srgbClr val="6C6463"/>
                </a:solidFill>
              </a:defRPr>
            </a:lvl2pPr>
            <a:lvl3pPr>
              <a:defRPr>
                <a:solidFill>
                  <a:srgbClr val="6C6463"/>
                </a:solidFill>
              </a:defRPr>
            </a:lvl3pPr>
            <a:lvl4pPr>
              <a:defRPr>
                <a:solidFill>
                  <a:srgbClr val="6C6463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203200" y="6520934"/>
            <a:ext cx="2844800" cy="184666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l">
              <a:defRPr sz="600" b="0" i="0">
                <a:solidFill>
                  <a:srgbClr val="FFFFFF"/>
                </a:solidFill>
                <a:latin typeface="Gill Sans MT"/>
                <a:cs typeface="Gill Sans MT"/>
              </a:defRPr>
            </a:lvl1pPr>
          </a:lstStyle>
          <a:p>
            <a:fld id="{BCCE5460-4FB7-5647-9AB1-CEF5116A5DCA}" type="datetime1">
              <a:rPr lang="en-US" smtClean="0"/>
              <a:pPr/>
              <a:t>7/3/2020</a:t>
            </a:fld>
            <a:endParaRPr lang="en-US" dirty="0"/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144000" y="6520934"/>
            <a:ext cx="2844800" cy="184666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r">
              <a:defRPr sz="600" b="0" i="0">
                <a:solidFill>
                  <a:srgbClr val="FFFFFF"/>
                </a:solidFill>
                <a:latin typeface="Gill Sans MT"/>
                <a:cs typeface="Gill Sans MT"/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>
          <a:xfrm>
            <a:off x="914805" y="848380"/>
            <a:ext cx="10363200" cy="523220"/>
          </a:xfrm>
        </p:spPr>
        <p:txBody>
          <a:bodyPr anchor="b" anchorCtr="0">
            <a:spAutoFit/>
          </a:bodyPr>
          <a:lstStyle>
            <a:lvl1pPr>
              <a:defRPr>
                <a:solidFill>
                  <a:srgbClr val="0067B9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936678037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/White 1 Content + Right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3"/>
          <p:cNvSpPr>
            <a:spLocks noGrp="1"/>
          </p:cNvSpPr>
          <p:nvPr>
            <p:ph type="pic" sz="quarter" idx="10" hasCustomPrompt="1"/>
          </p:nvPr>
        </p:nvSpPr>
        <p:spPr>
          <a:xfrm>
            <a:off x="6096000" y="152400"/>
            <a:ext cx="5892800" cy="6553200"/>
          </a:xfrm>
          <a:solidFill>
            <a:srgbClr val="E7E7E5"/>
          </a:solidFill>
        </p:spPr>
        <p:txBody>
          <a:bodyPr>
            <a:norm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>
                <a:solidFill>
                  <a:srgbClr val="6C6463"/>
                </a:solidFill>
              </a:defRPr>
            </a:lvl1pPr>
          </a:lstStyle>
          <a:p>
            <a:r>
              <a:rPr lang="en-US" dirty="0"/>
              <a:t>ADD PHOTO HERE</a:t>
            </a:r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203200" y="6520934"/>
            <a:ext cx="2844800" cy="184666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l">
              <a:defRPr sz="600" b="0" i="0">
                <a:solidFill>
                  <a:srgbClr val="6C6463"/>
                </a:solidFill>
                <a:latin typeface="Gill Sans MT"/>
                <a:cs typeface="Gill Sans MT"/>
              </a:defRPr>
            </a:lvl1pPr>
          </a:lstStyle>
          <a:p>
            <a:fld id="{7D8A49A0-1A63-6943-82D6-C193E6102C72}" type="datetime1">
              <a:rPr lang="en-US" smtClean="0"/>
              <a:pPr/>
              <a:t>7/3/2020</a:t>
            </a:fld>
            <a:endParaRPr lang="en-US" dirty="0"/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144000" y="6520934"/>
            <a:ext cx="2844800" cy="184666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r">
              <a:defRPr sz="600" b="0" i="0">
                <a:solidFill>
                  <a:srgbClr val="FFFFFF"/>
                </a:solidFill>
                <a:latin typeface="Gill Sans MT"/>
                <a:cs typeface="Gill Sans MT"/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Content Placeholder 2"/>
          <p:cNvSpPr>
            <a:spLocks noGrp="1"/>
          </p:cNvSpPr>
          <p:nvPr>
            <p:ph idx="1"/>
          </p:nvPr>
        </p:nvSpPr>
        <p:spPr>
          <a:xfrm>
            <a:off x="914400" y="2057400"/>
            <a:ext cx="4876800" cy="4114800"/>
          </a:xfrm>
        </p:spPr>
        <p:txBody>
          <a:bodyPr>
            <a:normAutofit/>
          </a:bodyPr>
          <a:lstStyle>
            <a:lvl1pPr>
              <a:defRPr sz="2000">
                <a:solidFill>
                  <a:srgbClr val="6C6463"/>
                </a:solidFill>
              </a:defRPr>
            </a:lvl1pPr>
            <a:lvl2pPr>
              <a:defRPr sz="1800">
                <a:solidFill>
                  <a:srgbClr val="6C6463"/>
                </a:solidFill>
              </a:defRPr>
            </a:lvl2pPr>
            <a:lvl3pPr>
              <a:defRPr sz="1600">
                <a:solidFill>
                  <a:srgbClr val="6C6463"/>
                </a:solidFill>
              </a:defRPr>
            </a:lvl3pPr>
            <a:lvl4pPr>
              <a:defRPr sz="1400">
                <a:solidFill>
                  <a:srgbClr val="6C6463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914400" y="843985"/>
            <a:ext cx="4876395" cy="954107"/>
          </a:xfrm>
        </p:spPr>
        <p:txBody>
          <a:bodyPr wrap="square" anchor="b" anchorCtr="0">
            <a:spAutoFit/>
          </a:bodyPr>
          <a:lstStyle>
            <a:lvl1pPr>
              <a:defRPr>
                <a:solidFill>
                  <a:srgbClr val="0067B9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2" hasCustomPrompt="1"/>
          </p:nvPr>
        </p:nvSpPr>
        <p:spPr>
          <a:xfrm rot="16200000">
            <a:off x="10494089" y="1431666"/>
            <a:ext cx="2743200" cy="184666"/>
          </a:xfrm>
        </p:spPr>
        <p:txBody>
          <a:bodyPr>
            <a:spAutoFit/>
          </a:bodyPr>
          <a:lstStyle>
            <a:lvl1pPr marL="0" indent="0" algn="r">
              <a:buNone/>
              <a:defRPr sz="600" baseline="0">
                <a:solidFill>
                  <a:srgbClr val="FFFFFF"/>
                </a:solidFill>
              </a:defRPr>
            </a:lvl1pPr>
            <a:lvl2pPr marL="230187" indent="0">
              <a:buNone/>
              <a:defRPr sz="1800">
                <a:solidFill>
                  <a:schemeClr val="bg1"/>
                </a:solidFill>
              </a:defRPr>
            </a:lvl2pPr>
            <a:lvl3pPr marL="460375" indent="0">
              <a:buNone/>
              <a:defRPr sz="1600">
                <a:solidFill>
                  <a:schemeClr val="bg1"/>
                </a:solidFill>
              </a:defRPr>
            </a:lvl3pPr>
            <a:lvl4pPr marL="684212" indent="0">
              <a:buNone/>
              <a:defRPr sz="1400">
                <a:solidFill>
                  <a:schemeClr val="bg1"/>
                </a:solidFill>
              </a:defRPr>
            </a:lvl4pPr>
            <a:lvl5pPr marL="1025525" indent="0"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PHOTO CREDIT HERE</a:t>
            </a:r>
          </a:p>
        </p:txBody>
      </p:sp>
    </p:spTree>
    <p:extLst>
      <p:ext uri="{BB962C8B-B14F-4D97-AF65-F5344CB8AC3E}">
        <p14:creationId xmlns:p14="http://schemas.microsoft.com/office/powerpoint/2010/main" val="2151477631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/White Title + Left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3"/>
          <p:cNvSpPr>
            <a:spLocks noGrp="1"/>
          </p:cNvSpPr>
          <p:nvPr>
            <p:ph type="pic" sz="quarter" idx="10" hasCustomPrompt="1"/>
          </p:nvPr>
        </p:nvSpPr>
        <p:spPr>
          <a:xfrm>
            <a:off x="203200" y="152400"/>
            <a:ext cx="5892800" cy="6553200"/>
          </a:xfrm>
          <a:solidFill>
            <a:srgbClr val="E7E7E5"/>
          </a:solidFill>
        </p:spPr>
        <p:txBody>
          <a:bodyPr>
            <a:norm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>
                <a:solidFill>
                  <a:srgbClr val="6C6463"/>
                </a:solidFill>
              </a:defRPr>
            </a:lvl1pPr>
          </a:lstStyle>
          <a:p>
            <a:r>
              <a:rPr lang="en-US" dirty="0"/>
              <a:t>ADD PHOTO HERE</a:t>
            </a:r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203200" y="6520934"/>
            <a:ext cx="2844800" cy="184666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l">
              <a:defRPr sz="600" b="0" i="0">
                <a:solidFill>
                  <a:schemeClr val="bg1"/>
                </a:solidFill>
                <a:latin typeface="Gill Sans MT"/>
                <a:cs typeface="Gill Sans MT"/>
              </a:defRPr>
            </a:lvl1pPr>
          </a:lstStyle>
          <a:p>
            <a:fld id="{60FEB5C5-97E6-6B45-BBE4-F2449473BB96}" type="datetime1">
              <a:rPr lang="en-US" smtClean="0"/>
              <a:pPr/>
              <a:t>7/3/2020</a:t>
            </a:fld>
            <a:endParaRPr lang="en-US" dirty="0"/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144000" y="6520934"/>
            <a:ext cx="2844800" cy="184666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r">
              <a:defRPr sz="600" b="0" i="0">
                <a:solidFill>
                  <a:srgbClr val="6C6463"/>
                </a:solidFill>
                <a:latin typeface="Gill Sans MT"/>
                <a:cs typeface="Gill Sans MT"/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2" hasCustomPrompt="1"/>
          </p:nvPr>
        </p:nvSpPr>
        <p:spPr>
          <a:xfrm rot="16200000">
            <a:off x="4601289" y="1431666"/>
            <a:ext cx="2743200" cy="184666"/>
          </a:xfrm>
        </p:spPr>
        <p:txBody>
          <a:bodyPr>
            <a:spAutoFit/>
          </a:bodyPr>
          <a:lstStyle>
            <a:lvl1pPr marL="0" indent="0" algn="r">
              <a:buNone/>
              <a:defRPr sz="600" baseline="0">
                <a:solidFill>
                  <a:srgbClr val="FFFFFF"/>
                </a:solidFill>
              </a:defRPr>
            </a:lvl1pPr>
            <a:lvl2pPr marL="230187" indent="0">
              <a:buNone/>
              <a:defRPr sz="1800">
                <a:solidFill>
                  <a:schemeClr val="bg1"/>
                </a:solidFill>
              </a:defRPr>
            </a:lvl2pPr>
            <a:lvl3pPr marL="460375" indent="0">
              <a:buNone/>
              <a:defRPr sz="1600">
                <a:solidFill>
                  <a:schemeClr val="bg1"/>
                </a:solidFill>
              </a:defRPr>
            </a:lvl3pPr>
            <a:lvl4pPr marL="684212" indent="0">
              <a:buNone/>
              <a:defRPr sz="1400">
                <a:solidFill>
                  <a:schemeClr val="bg1"/>
                </a:solidFill>
              </a:defRPr>
            </a:lvl4pPr>
            <a:lvl5pPr marL="1025525" indent="0"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PHOTO CREDIT HERE</a:t>
            </a:r>
          </a:p>
        </p:txBody>
      </p:sp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6502805" y="2971801"/>
            <a:ext cx="5181195" cy="954107"/>
          </a:xfrm>
        </p:spPr>
        <p:txBody>
          <a:bodyPr wrap="square" anchor="ctr" anchorCtr="0">
            <a:spAutoFit/>
          </a:bodyPr>
          <a:lstStyle>
            <a:lvl1pPr>
              <a:defRPr>
                <a:solidFill>
                  <a:srgbClr val="0067B9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591384597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1396" y="3692"/>
            <a:ext cx="12201685" cy="685430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9" name="Freeform 8"/>
          <p:cNvSpPr/>
          <p:nvPr userDrawn="1"/>
        </p:nvSpPr>
        <p:spPr>
          <a:xfrm>
            <a:off x="-11936" y="-3148"/>
            <a:ext cx="11931119" cy="6867762"/>
          </a:xfrm>
          <a:custGeom>
            <a:avLst/>
            <a:gdLst>
              <a:gd name="connsiteX0" fmla="*/ 1643975 w 8501975"/>
              <a:gd name="connsiteY0" fmla="*/ 0 h 5175115"/>
              <a:gd name="connsiteX1" fmla="*/ 8501975 w 8501975"/>
              <a:gd name="connsiteY1" fmla="*/ 19455 h 5175115"/>
              <a:gd name="connsiteX2" fmla="*/ 4289898 w 8501975"/>
              <a:gd name="connsiteY2" fmla="*/ 5175115 h 5175115"/>
              <a:gd name="connsiteX3" fmla="*/ 0 w 8501975"/>
              <a:gd name="connsiteY3" fmla="*/ 5175115 h 5175115"/>
              <a:gd name="connsiteX4" fmla="*/ 0 w 8501975"/>
              <a:gd name="connsiteY4" fmla="*/ 4027251 h 5175115"/>
              <a:gd name="connsiteX5" fmla="*/ 1643975 w 8501975"/>
              <a:gd name="connsiteY5" fmla="*/ 0 h 5175115"/>
              <a:gd name="connsiteX0" fmla="*/ 1649126 w 8507126"/>
              <a:gd name="connsiteY0" fmla="*/ 0 h 5175115"/>
              <a:gd name="connsiteX1" fmla="*/ 8507126 w 8507126"/>
              <a:gd name="connsiteY1" fmla="*/ 19455 h 5175115"/>
              <a:gd name="connsiteX2" fmla="*/ 4295049 w 8507126"/>
              <a:gd name="connsiteY2" fmla="*/ 5175115 h 5175115"/>
              <a:gd name="connsiteX3" fmla="*/ 5151 w 8507126"/>
              <a:gd name="connsiteY3" fmla="*/ 5175115 h 5175115"/>
              <a:gd name="connsiteX4" fmla="*/ 0 w 8507126"/>
              <a:gd name="connsiteY4" fmla="*/ 4037554 h 5175115"/>
              <a:gd name="connsiteX5" fmla="*/ 1649126 w 8507126"/>
              <a:gd name="connsiteY5" fmla="*/ 0 h 5175115"/>
              <a:gd name="connsiteX0" fmla="*/ 1649127 w 8507127"/>
              <a:gd name="connsiteY0" fmla="*/ 0 h 5175115"/>
              <a:gd name="connsiteX1" fmla="*/ 8507127 w 8507127"/>
              <a:gd name="connsiteY1" fmla="*/ 19455 h 5175115"/>
              <a:gd name="connsiteX2" fmla="*/ 4295050 w 8507127"/>
              <a:gd name="connsiteY2" fmla="*/ 5175115 h 5175115"/>
              <a:gd name="connsiteX3" fmla="*/ 0 w 8507127"/>
              <a:gd name="connsiteY3" fmla="*/ 5175115 h 5175115"/>
              <a:gd name="connsiteX4" fmla="*/ 1 w 8507127"/>
              <a:gd name="connsiteY4" fmla="*/ 4037554 h 5175115"/>
              <a:gd name="connsiteX5" fmla="*/ 1649127 w 8507127"/>
              <a:gd name="connsiteY5" fmla="*/ 0 h 5175115"/>
              <a:gd name="connsiteX0" fmla="*/ 1690339 w 8507127"/>
              <a:gd name="connsiteY0" fmla="*/ 34637 h 5155660"/>
              <a:gd name="connsiteX1" fmla="*/ 8507127 w 8507127"/>
              <a:gd name="connsiteY1" fmla="*/ 0 h 5155660"/>
              <a:gd name="connsiteX2" fmla="*/ 4295050 w 8507127"/>
              <a:gd name="connsiteY2" fmla="*/ 5155660 h 5155660"/>
              <a:gd name="connsiteX3" fmla="*/ 0 w 8507127"/>
              <a:gd name="connsiteY3" fmla="*/ 5155660 h 5155660"/>
              <a:gd name="connsiteX4" fmla="*/ 1 w 8507127"/>
              <a:gd name="connsiteY4" fmla="*/ 4018099 h 5155660"/>
              <a:gd name="connsiteX5" fmla="*/ 1690339 w 8507127"/>
              <a:gd name="connsiteY5" fmla="*/ 34637 h 5155660"/>
              <a:gd name="connsiteX0" fmla="*/ 1651702 w 8507127"/>
              <a:gd name="connsiteY0" fmla="*/ 0 h 5157084"/>
              <a:gd name="connsiteX1" fmla="*/ 8507127 w 8507127"/>
              <a:gd name="connsiteY1" fmla="*/ 1424 h 5157084"/>
              <a:gd name="connsiteX2" fmla="*/ 4295050 w 8507127"/>
              <a:gd name="connsiteY2" fmla="*/ 5157084 h 5157084"/>
              <a:gd name="connsiteX3" fmla="*/ 0 w 8507127"/>
              <a:gd name="connsiteY3" fmla="*/ 5157084 h 5157084"/>
              <a:gd name="connsiteX4" fmla="*/ 1 w 8507127"/>
              <a:gd name="connsiteY4" fmla="*/ 4019523 h 5157084"/>
              <a:gd name="connsiteX5" fmla="*/ 1651702 w 8507127"/>
              <a:gd name="connsiteY5" fmla="*/ 0 h 5157084"/>
              <a:gd name="connsiteX0" fmla="*/ 1651702 w 8507127"/>
              <a:gd name="connsiteY0" fmla="*/ 0 h 5157084"/>
              <a:gd name="connsiteX1" fmla="*/ 8507127 w 8507127"/>
              <a:gd name="connsiteY1" fmla="*/ 1424 h 5157084"/>
              <a:gd name="connsiteX2" fmla="*/ 4295050 w 8507127"/>
              <a:gd name="connsiteY2" fmla="*/ 5157084 h 5157084"/>
              <a:gd name="connsiteX3" fmla="*/ 0 w 8507127"/>
              <a:gd name="connsiteY3" fmla="*/ 5157084 h 5157084"/>
              <a:gd name="connsiteX4" fmla="*/ 46365 w 8507127"/>
              <a:gd name="connsiteY4" fmla="*/ 4006644 h 5157084"/>
              <a:gd name="connsiteX5" fmla="*/ 1651702 w 8507127"/>
              <a:gd name="connsiteY5" fmla="*/ 0 h 5157084"/>
              <a:gd name="connsiteX0" fmla="*/ 1651702 w 8507127"/>
              <a:gd name="connsiteY0" fmla="*/ 0 h 5157084"/>
              <a:gd name="connsiteX1" fmla="*/ 8507127 w 8507127"/>
              <a:gd name="connsiteY1" fmla="*/ 1424 h 5157084"/>
              <a:gd name="connsiteX2" fmla="*/ 4295050 w 8507127"/>
              <a:gd name="connsiteY2" fmla="*/ 5157084 h 5157084"/>
              <a:gd name="connsiteX3" fmla="*/ 0 w 8507127"/>
              <a:gd name="connsiteY3" fmla="*/ 5157084 h 5157084"/>
              <a:gd name="connsiteX4" fmla="*/ 15455 w 8507127"/>
              <a:gd name="connsiteY4" fmla="*/ 3973159 h 5157084"/>
              <a:gd name="connsiteX5" fmla="*/ 1651702 w 8507127"/>
              <a:gd name="connsiteY5" fmla="*/ 0 h 5157084"/>
              <a:gd name="connsiteX0" fmla="*/ 1636247 w 8491672"/>
              <a:gd name="connsiteY0" fmla="*/ 0 h 5157084"/>
              <a:gd name="connsiteX1" fmla="*/ 8491672 w 8491672"/>
              <a:gd name="connsiteY1" fmla="*/ 1424 h 5157084"/>
              <a:gd name="connsiteX2" fmla="*/ 4279595 w 8491672"/>
              <a:gd name="connsiteY2" fmla="*/ 5157084 h 5157084"/>
              <a:gd name="connsiteX3" fmla="*/ 64394 w 8491672"/>
              <a:gd name="connsiteY3" fmla="*/ 5157084 h 5157084"/>
              <a:gd name="connsiteX4" fmla="*/ 0 w 8491672"/>
              <a:gd name="connsiteY4" fmla="*/ 3973159 h 5157084"/>
              <a:gd name="connsiteX5" fmla="*/ 1636247 w 8491672"/>
              <a:gd name="connsiteY5" fmla="*/ 0 h 5157084"/>
              <a:gd name="connsiteX0" fmla="*/ 1638823 w 8494248"/>
              <a:gd name="connsiteY0" fmla="*/ 0 h 5157084"/>
              <a:gd name="connsiteX1" fmla="*/ 8494248 w 8494248"/>
              <a:gd name="connsiteY1" fmla="*/ 1424 h 5157084"/>
              <a:gd name="connsiteX2" fmla="*/ 4282171 w 8494248"/>
              <a:gd name="connsiteY2" fmla="*/ 5157084 h 5157084"/>
              <a:gd name="connsiteX3" fmla="*/ 0 w 8494248"/>
              <a:gd name="connsiteY3" fmla="*/ 5157084 h 5157084"/>
              <a:gd name="connsiteX4" fmla="*/ 2576 w 8494248"/>
              <a:gd name="connsiteY4" fmla="*/ 3973159 h 5157084"/>
              <a:gd name="connsiteX5" fmla="*/ 1638823 w 8494248"/>
              <a:gd name="connsiteY5" fmla="*/ 0 h 5157084"/>
              <a:gd name="connsiteX0" fmla="*/ 1638823 w 8494248"/>
              <a:gd name="connsiteY0" fmla="*/ 0 h 5157084"/>
              <a:gd name="connsiteX1" fmla="*/ 8494248 w 8494248"/>
              <a:gd name="connsiteY1" fmla="*/ 1424 h 5157084"/>
              <a:gd name="connsiteX2" fmla="*/ 4282171 w 8494248"/>
              <a:gd name="connsiteY2" fmla="*/ 5157084 h 5157084"/>
              <a:gd name="connsiteX3" fmla="*/ 0 w 8494248"/>
              <a:gd name="connsiteY3" fmla="*/ 5157084 h 5157084"/>
              <a:gd name="connsiteX4" fmla="*/ 38637 w 8494248"/>
              <a:gd name="connsiteY4" fmla="*/ 4029826 h 5157084"/>
              <a:gd name="connsiteX5" fmla="*/ 1638823 w 8494248"/>
              <a:gd name="connsiteY5" fmla="*/ 0 h 5157084"/>
              <a:gd name="connsiteX0" fmla="*/ 1641398 w 8496823"/>
              <a:gd name="connsiteY0" fmla="*/ 0 h 5157084"/>
              <a:gd name="connsiteX1" fmla="*/ 8496823 w 8496823"/>
              <a:gd name="connsiteY1" fmla="*/ 1424 h 5157084"/>
              <a:gd name="connsiteX2" fmla="*/ 4284746 w 8496823"/>
              <a:gd name="connsiteY2" fmla="*/ 5157084 h 5157084"/>
              <a:gd name="connsiteX3" fmla="*/ 2575 w 8496823"/>
              <a:gd name="connsiteY3" fmla="*/ 5157084 h 5157084"/>
              <a:gd name="connsiteX4" fmla="*/ 0 w 8496823"/>
              <a:gd name="connsiteY4" fmla="*/ 3983462 h 5157084"/>
              <a:gd name="connsiteX5" fmla="*/ 1641398 w 8496823"/>
              <a:gd name="connsiteY5" fmla="*/ 0 h 5157084"/>
              <a:gd name="connsiteX0" fmla="*/ 1638256 w 8496823"/>
              <a:gd name="connsiteY0" fmla="*/ 0 h 5157084"/>
              <a:gd name="connsiteX1" fmla="*/ 8496823 w 8496823"/>
              <a:gd name="connsiteY1" fmla="*/ 1424 h 5157084"/>
              <a:gd name="connsiteX2" fmla="*/ 4284746 w 8496823"/>
              <a:gd name="connsiteY2" fmla="*/ 5157084 h 5157084"/>
              <a:gd name="connsiteX3" fmla="*/ 2575 w 8496823"/>
              <a:gd name="connsiteY3" fmla="*/ 5157084 h 5157084"/>
              <a:gd name="connsiteX4" fmla="*/ 0 w 8496823"/>
              <a:gd name="connsiteY4" fmla="*/ 3983462 h 5157084"/>
              <a:gd name="connsiteX5" fmla="*/ 1638256 w 8496823"/>
              <a:gd name="connsiteY5" fmla="*/ 0 h 5157084"/>
              <a:gd name="connsiteX0" fmla="*/ 1638256 w 8496823"/>
              <a:gd name="connsiteY0" fmla="*/ 0 h 6846184"/>
              <a:gd name="connsiteX1" fmla="*/ 8496823 w 8496823"/>
              <a:gd name="connsiteY1" fmla="*/ 1424 h 6846184"/>
              <a:gd name="connsiteX2" fmla="*/ 2900446 w 8496823"/>
              <a:gd name="connsiteY2" fmla="*/ 6846184 h 6846184"/>
              <a:gd name="connsiteX3" fmla="*/ 2575 w 8496823"/>
              <a:gd name="connsiteY3" fmla="*/ 5157084 h 6846184"/>
              <a:gd name="connsiteX4" fmla="*/ 0 w 8496823"/>
              <a:gd name="connsiteY4" fmla="*/ 3983462 h 6846184"/>
              <a:gd name="connsiteX5" fmla="*/ 1638256 w 8496823"/>
              <a:gd name="connsiteY5" fmla="*/ 0 h 6846184"/>
              <a:gd name="connsiteX0" fmla="*/ 1648381 w 8506948"/>
              <a:gd name="connsiteY0" fmla="*/ 0 h 6858884"/>
              <a:gd name="connsiteX1" fmla="*/ 8506948 w 8506948"/>
              <a:gd name="connsiteY1" fmla="*/ 1424 h 6858884"/>
              <a:gd name="connsiteX2" fmla="*/ 2910571 w 8506948"/>
              <a:gd name="connsiteY2" fmla="*/ 6846184 h 6858884"/>
              <a:gd name="connsiteX3" fmla="*/ 0 w 8506948"/>
              <a:gd name="connsiteY3" fmla="*/ 6858884 h 6858884"/>
              <a:gd name="connsiteX4" fmla="*/ 10125 w 8506948"/>
              <a:gd name="connsiteY4" fmla="*/ 3983462 h 6858884"/>
              <a:gd name="connsiteX5" fmla="*/ 1648381 w 8506948"/>
              <a:gd name="connsiteY5" fmla="*/ 0 h 6858884"/>
              <a:gd name="connsiteX0" fmla="*/ 1597581 w 8506948"/>
              <a:gd name="connsiteY0" fmla="*/ 0 h 6858884"/>
              <a:gd name="connsiteX1" fmla="*/ 8506948 w 8506948"/>
              <a:gd name="connsiteY1" fmla="*/ 1424 h 6858884"/>
              <a:gd name="connsiteX2" fmla="*/ 2910571 w 8506948"/>
              <a:gd name="connsiteY2" fmla="*/ 6846184 h 6858884"/>
              <a:gd name="connsiteX3" fmla="*/ 0 w 8506948"/>
              <a:gd name="connsiteY3" fmla="*/ 6858884 h 6858884"/>
              <a:gd name="connsiteX4" fmla="*/ 10125 w 8506948"/>
              <a:gd name="connsiteY4" fmla="*/ 3983462 h 6858884"/>
              <a:gd name="connsiteX5" fmla="*/ 1597581 w 8506948"/>
              <a:gd name="connsiteY5" fmla="*/ 0 h 6858884"/>
              <a:gd name="connsiteX0" fmla="*/ 2083733 w 8993100"/>
              <a:gd name="connsiteY0" fmla="*/ 0 h 6858884"/>
              <a:gd name="connsiteX1" fmla="*/ 8993100 w 8993100"/>
              <a:gd name="connsiteY1" fmla="*/ 1424 h 6858884"/>
              <a:gd name="connsiteX2" fmla="*/ 3396723 w 8993100"/>
              <a:gd name="connsiteY2" fmla="*/ 6846184 h 6858884"/>
              <a:gd name="connsiteX3" fmla="*/ 486152 w 8993100"/>
              <a:gd name="connsiteY3" fmla="*/ 6858884 h 6858884"/>
              <a:gd name="connsiteX4" fmla="*/ 0 w 8993100"/>
              <a:gd name="connsiteY4" fmla="*/ 5136231 h 6858884"/>
              <a:gd name="connsiteX5" fmla="*/ 2083733 w 8993100"/>
              <a:gd name="connsiteY5" fmla="*/ 0 h 6858884"/>
              <a:gd name="connsiteX0" fmla="*/ 2083733 w 8993100"/>
              <a:gd name="connsiteY0" fmla="*/ 0 h 6862792"/>
              <a:gd name="connsiteX1" fmla="*/ 8993100 w 8993100"/>
              <a:gd name="connsiteY1" fmla="*/ 1424 h 6862792"/>
              <a:gd name="connsiteX2" fmla="*/ 3396723 w 8993100"/>
              <a:gd name="connsiteY2" fmla="*/ 6846184 h 6862792"/>
              <a:gd name="connsiteX3" fmla="*/ 9413 w 8993100"/>
              <a:gd name="connsiteY3" fmla="*/ 6862792 h 6862792"/>
              <a:gd name="connsiteX4" fmla="*/ 0 w 8993100"/>
              <a:gd name="connsiteY4" fmla="*/ 5136231 h 6862792"/>
              <a:gd name="connsiteX5" fmla="*/ 2083733 w 8993100"/>
              <a:gd name="connsiteY5" fmla="*/ 0 h 6862792"/>
              <a:gd name="connsiteX0" fmla="*/ 2083733 w 8993100"/>
              <a:gd name="connsiteY0" fmla="*/ 0 h 6862792"/>
              <a:gd name="connsiteX1" fmla="*/ 8993100 w 8993100"/>
              <a:gd name="connsiteY1" fmla="*/ 1424 h 6862792"/>
              <a:gd name="connsiteX2" fmla="*/ 3396723 w 8993100"/>
              <a:gd name="connsiteY2" fmla="*/ 6846184 h 6862792"/>
              <a:gd name="connsiteX3" fmla="*/ 9413 w 8993100"/>
              <a:gd name="connsiteY3" fmla="*/ 6862792 h 6862792"/>
              <a:gd name="connsiteX4" fmla="*/ 0 w 8993100"/>
              <a:gd name="connsiteY4" fmla="*/ 5124508 h 6862792"/>
              <a:gd name="connsiteX5" fmla="*/ 2083733 w 8993100"/>
              <a:gd name="connsiteY5" fmla="*/ 0 h 6862792"/>
              <a:gd name="connsiteX0" fmla="*/ 2083733 w 8993100"/>
              <a:gd name="connsiteY0" fmla="*/ 0 h 6862792"/>
              <a:gd name="connsiteX1" fmla="*/ 8993100 w 8993100"/>
              <a:gd name="connsiteY1" fmla="*/ 1424 h 6862792"/>
              <a:gd name="connsiteX2" fmla="*/ 3388908 w 8993100"/>
              <a:gd name="connsiteY2" fmla="*/ 6857907 h 6862792"/>
              <a:gd name="connsiteX3" fmla="*/ 9413 w 8993100"/>
              <a:gd name="connsiteY3" fmla="*/ 6862792 h 6862792"/>
              <a:gd name="connsiteX4" fmla="*/ 0 w 8993100"/>
              <a:gd name="connsiteY4" fmla="*/ 5124508 h 6862792"/>
              <a:gd name="connsiteX5" fmla="*/ 2083733 w 8993100"/>
              <a:gd name="connsiteY5" fmla="*/ 0 h 6862792"/>
              <a:gd name="connsiteX0" fmla="*/ 2083733 w 8993100"/>
              <a:gd name="connsiteY0" fmla="*/ 0 h 6862792"/>
              <a:gd name="connsiteX1" fmla="*/ 8993100 w 8993100"/>
              <a:gd name="connsiteY1" fmla="*/ 1424 h 6862792"/>
              <a:gd name="connsiteX2" fmla="*/ 3388908 w 8993100"/>
              <a:gd name="connsiteY2" fmla="*/ 6857907 h 6862792"/>
              <a:gd name="connsiteX3" fmla="*/ 9413 w 8993100"/>
              <a:gd name="connsiteY3" fmla="*/ 6862792 h 6862792"/>
              <a:gd name="connsiteX4" fmla="*/ 0 w 8993100"/>
              <a:gd name="connsiteY4" fmla="*/ 5124508 h 6862792"/>
              <a:gd name="connsiteX5" fmla="*/ 2083733 w 8993100"/>
              <a:gd name="connsiteY5" fmla="*/ 0 h 6862792"/>
              <a:gd name="connsiteX0" fmla="*/ 2083733 w 8993100"/>
              <a:gd name="connsiteY0" fmla="*/ 0 h 6857907"/>
              <a:gd name="connsiteX1" fmla="*/ 8993100 w 8993100"/>
              <a:gd name="connsiteY1" fmla="*/ 1424 h 6857907"/>
              <a:gd name="connsiteX2" fmla="*/ 3388908 w 8993100"/>
              <a:gd name="connsiteY2" fmla="*/ 6857907 h 6857907"/>
              <a:gd name="connsiteX3" fmla="*/ 99290 w 8993100"/>
              <a:gd name="connsiteY3" fmla="*/ 6851069 h 6857907"/>
              <a:gd name="connsiteX4" fmla="*/ 0 w 8993100"/>
              <a:gd name="connsiteY4" fmla="*/ 5124508 h 6857907"/>
              <a:gd name="connsiteX5" fmla="*/ 2083733 w 8993100"/>
              <a:gd name="connsiteY5" fmla="*/ 0 h 6857907"/>
              <a:gd name="connsiteX0" fmla="*/ 2083733 w 8993100"/>
              <a:gd name="connsiteY0" fmla="*/ 0 h 6862792"/>
              <a:gd name="connsiteX1" fmla="*/ 8993100 w 8993100"/>
              <a:gd name="connsiteY1" fmla="*/ 1424 h 6862792"/>
              <a:gd name="connsiteX2" fmla="*/ 3388908 w 8993100"/>
              <a:gd name="connsiteY2" fmla="*/ 6857907 h 6862792"/>
              <a:gd name="connsiteX3" fmla="*/ 5505 w 8993100"/>
              <a:gd name="connsiteY3" fmla="*/ 6862792 h 6862792"/>
              <a:gd name="connsiteX4" fmla="*/ 0 w 8993100"/>
              <a:gd name="connsiteY4" fmla="*/ 5124508 h 6862792"/>
              <a:gd name="connsiteX5" fmla="*/ 2083733 w 8993100"/>
              <a:gd name="connsiteY5" fmla="*/ 0 h 6862792"/>
              <a:gd name="connsiteX0" fmla="*/ 2083733 w 8993100"/>
              <a:gd name="connsiteY0" fmla="*/ 0 h 6867554"/>
              <a:gd name="connsiteX1" fmla="*/ 8993100 w 8993100"/>
              <a:gd name="connsiteY1" fmla="*/ 6186 h 6867554"/>
              <a:gd name="connsiteX2" fmla="*/ 3388908 w 8993100"/>
              <a:gd name="connsiteY2" fmla="*/ 6862669 h 6867554"/>
              <a:gd name="connsiteX3" fmla="*/ 5505 w 8993100"/>
              <a:gd name="connsiteY3" fmla="*/ 6867554 h 6867554"/>
              <a:gd name="connsiteX4" fmla="*/ 0 w 8993100"/>
              <a:gd name="connsiteY4" fmla="*/ 5129270 h 6867554"/>
              <a:gd name="connsiteX5" fmla="*/ 2083733 w 8993100"/>
              <a:gd name="connsiteY5" fmla="*/ 0 h 6867554"/>
              <a:gd name="connsiteX0" fmla="*/ 2083733 w 8791676"/>
              <a:gd name="connsiteY0" fmla="*/ 0 h 6867554"/>
              <a:gd name="connsiteX1" fmla="*/ 8791676 w 8791676"/>
              <a:gd name="connsiteY1" fmla="*/ 22172 h 6867554"/>
              <a:gd name="connsiteX2" fmla="*/ 3388908 w 8791676"/>
              <a:gd name="connsiteY2" fmla="*/ 6862669 h 6867554"/>
              <a:gd name="connsiteX3" fmla="*/ 5505 w 8791676"/>
              <a:gd name="connsiteY3" fmla="*/ 6867554 h 6867554"/>
              <a:gd name="connsiteX4" fmla="*/ 0 w 8791676"/>
              <a:gd name="connsiteY4" fmla="*/ 5129270 h 6867554"/>
              <a:gd name="connsiteX5" fmla="*/ 2083733 w 8791676"/>
              <a:gd name="connsiteY5" fmla="*/ 0 h 6867554"/>
              <a:gd name="connsiteX0" fmla="*/ 2083733 w 8948339"/>
              <a:gd name="connsiteY0" fmla="*/ 208 h 6867762"/>
              <a:gd name="connsiteX1" fmla="*/ 8948339 w 8948339"/>
              <a:gd name="connsiteY1" fmla="*/ 0 h 6867762"/>
              <a:gd name="connsiteX2" fmla="*/ 3388908 w 8948339"/>
              <a:gd name="connsiteY2" fmla="*/ 6862877 h 6867762"/>
              <a:gd name="connsiteX3" fmla="*/ 5505 w 8948339"/>
              <a:gd name="connsiteY3" fmla="*/ 6867762 h 6867762"/>
              <a:gd name="connsiteX4" fmla="*/ 0 w 8948339"/>
              <a:gd name="connsiteY4" fmla="*/ 5129478 h 6867762"/>
              <a:gd name="connsiteX5" fmla="*/ 2083733 w 8948339"/>
              <a:gd name="connsiteY5" fmla="*/ 208 h 68677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948339" h="6867762">
                <a:moveTo>
                  <a:pt x="2083733" y="208"/>
                </a:moveTo>
                <a:lnTo>
                  <a:pt x="8948339" y="0"/>
                </a:lnTo>
                <a:lnTo>
                  <a:pt x="3388908" y="6862877"/>
                </a:lnTo>
                <a:lnTo>
                  <a:pt x="5505" y="6867762"/>
                </a:lnTo>
                <a:cubicBezTo>
                  <a:pt x="5505" y="6488575"/>
                  <a:pt x="0" y="5508665"/>
                  <a:pt x="0" y="5129478"/>
                </a:cubicBezTo>
                <a:lnTo>
                  <a:pt x="2083733" y="208"/>
                </a:lnTo>
                <a:close/>
              </a:path>
            </a:pathLst>
          </a:custGeom>
          <a:solidFill>
            <a:srgbClr val="55575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1866737" y="3588760"/>
            <a:ext cx="6604000" cy="0"/>
          </a:xfrm>
          <a:prstGeom prst="line">
            <a:avLst/>
          </a:prstGeom>
          <a:ln w="12700" cmpd="sng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19"/>
          <p:cNvSpPr>
            <a:spLocks noGrp="1"/>
          </p:cNvSpPr>
          <p:nvPr>
            <p:ph type="body" sz="quarter" idx="18" hasCustomPrompt="1"/>
          </p:nvPr>
        </p:nvSpPr>
        <p:spPr>
          <a:xfrm>
            <a:off x="1866739" y="3692359"/>
            <a:ext cx="5576799" cy="343400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FontTx/>
              <a:buNone/>
              <a:defRPr sz="1600" cap="all">
                <a:solidFill>
                  <a:schemeClr val="accent2"/>
                </a:solidFill>
                <a:latin typeface="+mn-lt"/>
              </a:defRPr>
            </a:lvl1pPr>
          </a:lstStyle>
          <a:p>
            <a:r>
              <a:rPr lang="en-US" sz="1600" dirty="0"/>
              <a:t>Click to edit SUBTITLE</a:t>
            </a:r>
          </a:p>
        </p:txBody>
      </p:sp>
      <p:sp>
        <p:nvSpPr>
          <p:cNvPr id="13" name="Text Placeholder 23"/>
          <p:cNvSpPr>
            <a:spLocks noGrp="1"/>
          </p:cNvSpPr>
          <p:nvPr>
            <p:ph type="body" sz="quarter" idx="19"/>
          </p:nvPr>
        </p:nvSpPr>
        <p:spPr>
          <a:xfrm>
            <a:off x="1866740" y="3059449"/>
            <a:ext cx="6154313" cy="452437"/>
          </a:xfrm>
          <a:prstGeom prst="rect">
            <a:avLst/>
          </a:prstGeom>
        </p:spPr>
        <p:txBody>
          <a:bodyPr vert="horz" lIns="0" rIns="0" bIns="0" anchor="b"/>
          <a:lstStyle>
            <a:lvl1pPr marL="0" indent="0">
              <a:buFontTx/>
              <a:buNone/>
              <a:defRPr sz="2500" cap="all" baseline="0">
                <a:solidFill>
                  <a:schemeClr val="bg1"/>
                </a:solidFill>
                <a:latin typeface="+mj-lt"/>
              </a:defRPr>
            </a:lvl1pPr>
            <a:lvl2pPr marL="457178" indent="0">
              <a:buFontTx/>
              <a:buNone/>
              <a:defRPr sz="2400" cap="all" baseline="0">
                <a:solidFill>
                  <a:schemeClr val="bg1"/>
                </a:solidFill>
              </a:defRPr>
            </a:lvl2pPr>
            <a:lvl3pPr marL="914354" indent="0">
              <a:buFontTx/>
              <a:buNone/>
              <a:defRPr sz="2400" cap="all" baseline="0">
                <a:solidFill>
                  <a:schemeClr val="bg1"/>
                </a:solidFill>
              </a:defRPr>
            </a:lvl3pPr>
            <a:lvl4pPr marL="1371532" indent="0">
              <a:buFontTx/>
              <a:buNone/>
              <a:defRPr sz="2400" cap="all" baseline="0">
                <a:solidFill>
                  <a:schemeClr val="bg1"/>
                </a:solidFill>
              </a:defRPr>
            </a:lvl4pPr>
            <a:lvl5pPr marL="1828709" indent="0">
              <a:buFontTx/>
              <a:buNone/>
              <a:defRPr sz="2400" cap="all" baseline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79975" y="6197563"/>
            <a:ext cx="2658995" cy="343835"/>
          </a:xfrm>
          <a:prstGeom prst="rect">
            <a:avLst/>
          </a:prstGeom>
        </p:spPr>
      </p:pic>
      <p:sp>
        <p:nvSpPr>
          <p:cNvPr id="4" name="Text Placeholder 3"/>
          <p:cNvSpPr>
            <a:spLocks noGrp="1"/>
          </p:cNvSpPr>
          <p:nvPr>
            <p:ph type="body" sz="quarter" idx="20" hasCustomPrompt="1"/>
          </p:nvPr>
        </p:nvSpPr>
        <p:spPr>
          <a:xfrm>
            <a:off x="1866737" y="4200993"/>
            <a:ext cx="4267200" cy="347472"/>
          </a:xfrm>
        </p:spPr>
        <p:txBody>
          <a:bodyPr anchor="ctr"/>
          <a:lstStyle>
            <a:lvl1pPr marL="0" indent="0">
              <a:buNone/>
              <a:defRPr sz="16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Insert Date</a:t>
            </a:r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21" hasCustomPrompt="1"/>
          </p:nvPr>
        </p:nvSpPr>
        <p:spPr>
          <a:xfrm>
            <a:off x="1866737" y="4889321"/>
            <a:ext cx="4267200" cy="347472"/>
          </a:xfrm>
        </p:spPr>
        <p:txBody>
          <a:bodyPr anchor="ctr"/>
          <a:lstStyle>
            <a:lvl1pPr marL="0" indent="0">
              <a:buNone/>
              <a:defRPr sz="105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Navigant Reference No:</a:t>
            </a:r>
          </a:p>
        </p:txBody>
      </p:sp>
      <p:sp>
        <p:nvSpPr>
          <p:cNvPr id="15" name="Freeform 14"/>
          <p:cNvSpPr/>
          <p:nvPr userDrawn="1"/>
        </p:nvSpPr>
        <p:spPr>
          <a:xfrm>
            <a:off x="-8596" y="-3908"/>
            <a:ext cx="2781343" cy="5136220"/>
          </a:xfrm>
          <a:custGeom>
            <a:avLst/>
            <a:gdLst>
              <a:gd name="connsiteX0" fmla="*/ 0 w 1661746"/>
              <a:gd name="connsiteY0" fmla="*/ 0 h 4044462"/>
              <a:gd name="connsiteX1" fmla="*/ 1661746 w 1661746"/>
              <a:gd name="connsiteY1" fmla="*/ 0 h 4044462"/>
              <a:gd name="connsiteX2" fmla="*/ 17585 w 1661746"/>
              <a:gd name="connsiteY2" fmla="*/ 4044462 h 4044462"/>
              <a:gd name="connsiteX3" fmla="*/ 0 w 1661746"/>
              <a:gd name="connsiteY3" fmla="*/ 0 h 4044462"/>
              <a:gd name="connsiteX0" fmla="*/ 0 w 1661746"/>
              <a:gd name="connsiteY0" fmla="*/ 0 h 4039867"/>
              <a:gd name="connsiteX1" fmla="*/ 1661746 w 1661746"/>
              <a:gd name="connsiteY1" fmla="*/ 0 h 4039867"/>
              <a:gd name="connsiteX2" fmla="*/ 12990 w 1661746"/>
              <a:gd name="connsiteY2" fmla="*/ 4039867 h 4039867"/>
              <a:gd name="connsiteX3" fmla="*/ 0 w 1661746"/>
              <a:gd name="connsiteY3" fmla="*/ 0 h 4039867"/>
              <a:gd name="connsiteX0" fmla="*/ 170948 w 1648895"/>
              <a:gd name="connsiteY0" fmla="*/ 284889 h 4039867"/>
              <a:gd name="connsiteX1" fmla="*/ 1648895 w 1648895"/>
              <a:gd name="connsiteY1" fmla="*/ 0 h 4039867"/>
              <a:gd name="connsiteX2" fmla="*/ 139 w 1648895"/>
              <a:gd name="connsiteY2" fmla="*/ 4039867 h 4039867"/>
              <a:gd name="connsiteX3" fmla="*/ 170948 w 1648895"/>
              <a:gd name="connsiteY3" fmla="*/ 284889 h 4039867"/>
              <a:gd name="connsiteX0" fmla="*/ 170948 w 1653490"/>
              <a:gd name="connsiteY0" fmla="*/ 225154 h 3980132"/>
              <a:gd name="connsiteX1" fmla="*/ 1653490 w 1653490"/>
              <a:gd name="connsiteY1" fmla="*/ 0 h 3980132"/>
              <a:gd name="connsiteX2" fmla="*/ 139 w 1653490"/>
              <a:gd name="connsiteY2" fmla="*/ 3980132 h 3980132"/>
              <a:gd name="connsiteX3" fmla="*/ 170948 w 1653490"/>
              <a:gd name="connsiteY3" fmla="*/ 225154 h 3980132"/>
              <a:gd name="connsiteX0" fmla="*/ 170948 w 1658085"/>
              <a:gd name="connsiteY0" fmla="*/ 284889 h 4039867"/>
              <a:gd name="connsiteX1" fmla="*/ 1658085 w 1658085"/>
              <a:gd name="connsiteY1" fmla="*/ 0 h 4039867"/>
              <a:gd name="connsiteX2" fmla="*/ 139 w 1658085"/>
              <a:gd name="connsiteY2" fmla="*/ 4039867 h 4039867"/>
              <a:gd name="connsiteX3" fmla="*/ 170948 w 1658085"/>
              <a:gd name="connsiteY3" fmla="*/ 284889 h 4039867"/>
              <a:gd name="connsiteX0" fmla="*/ 0 w 1666341"/>
              <a:gd name="connsiteY0" fmla="*/ 4595 h 4039867"/>
              <a:gd name="connsiteX1" fmla="*/ 1666341 w 1666341"/>
              <a:gd name="connsiteY1" fmla="*/ 0 h 4039867"/>
              <a:gd name="connsiteX2" fmla="*/ 8395 w 1666341"/>
              <a:gd name="connsiteY2" fmla="*/ 4039867 h 4039867"/>
              <a:gd name="connsiteX3" fmla="*/ 0 w 1666341"/>
              <a:gd name="connsiteY3" fmla="*/ 4595 h 4039867"/>
              <a:gd name="connsiteX0" fmla="*/ 0 w 1666341"/>
              <a:gd name="connsiteY0" fmla="*/ 4595 h 4035272"/>
              <a:gd name="connsiteX1" fmla="*/ 1666341 w 1666341"/>
              <a:gd name="connsiteY1" fmla="*/ 0 h 4035272"/>
              <a:gd name="connsiteX2" fmla="*/ 8395 w 1666341"/>
              <a:gd name="connsiteY2" fmla="*/ 4035272 h 4035272"/>
              <a:gd name="connsiteX3" fmla="*/ 0 w 1666341"/>
              <a:gd name="connsiteY3" fmla="*/ 4595 h 4035272"/>
              <a:gd name="connsiteX0" fmla="*/ 56296 w 1658307"/>
              <a:gd name="connsiteY0" fmla="*/ 114874 h 4035272"/>
              <a:gd name="connsiteX1" fmla="*/ 1658307 w 1658307"/>
              <a:gd name="connsiteY1" fmla="*/ 0 h 4035272"/>
              <a:gd name="connsiteX2" fmla="*/ 361 w 1658307"/>
              <a:gd name="connsiteY2" fmla="*/ 4035272 h 4035272"/>
              <a:gd name="connsiteX3" fmla="*/ 56296 w 1658307"/>
              <a:gd name="connsiteY3" fmla="*/ 114874 h 4035272"/>
              <a:gd name="connsiteX0" fmla="*/ 2400 w 1659551"/>
              <a:gd name="connsiteY0" fmla="*/ 9190 h 4035272"/>
              <a:gd name="connsiteX1" fmla="*/ 1659551 w 1659551"/>
              <a:gd name="connsiteY1" fmla="*/ 0 h 4035272"/>
              <a:gd name="connsiteX2" fmla="*/ 1605 w 1659551"/>
              <a:gd name="connsiteY2" fmla="*/ 4035272 h 4035272"/>
              <a:gd name="connsiteX3" fmla="*/ 2400 w 1659551"/>
              <a:gd name="connsiteY3" fmla="*/ 9190 h 4035272"/>
              <a:gd name="connsiteX0" fmla="*/ 146 w 1659873"/>
              <a:gd name="connsiteY0" fmla="*/ 6614 h 4035272"/>
              <a:gd name="connsiteX1" fmla="*/ 1659873 w 1659873"/>
              <a:gd name="connsiteY1" fmla="*/ 0 h 4035272"/>
              <a:gd name="connsiteX2" fmla="*/ 1927 w 1659873"/>
              <a:gd name="connsiteY2" fmla="*/ 4035272 h 4035272"/>
              <a:gd name="connsiteX3" fmla="*/ 146 w 1659873"/>
              <a:gd name="connsiteY3" fmla="*/ 6614 h 4035272"/>
              <a:gd name="connsiteX0" fmla="*/ 146 w 1649570"/>
              <a:gd name="connsiteY0" fmla="*/ 0 h 4028658"/>
              <a:gd name="connsiteX1" fmla="*/ 1649570 w 1649570"/>
              <a:gd name="connsiteY1" fmla="*/ 11416 h 4028658"/>
              <a:gd name="connsiteX2" fmla="*/ 1927 w 1649570"/>
              <a:gd name="connsiteY2" fmla="*/ 4028658 h 4028658"/>
              <a:gd name="connsiteX3" fmla="*/ 146 w 1649570"/>
              <a:gd name="connsiteY3" fmla="*/ 0 h 4028658"/>
              <a:gd name="connsiteX0" fmla="*/ 57814 w 1647996"/>
              <a:gd name="connsiteY0" fmla="*/ 109645 h 4017242"/>
              <a:gd name="connsiteX1" fmla="*/ 1647996 w 1647996"/>
              <a:gd name="connsiteY1" fmla="*/ 0 h 4017242"/>
              <a:gd name="connsiteX2" fmla="*/ 353 w 1647996"/>
              <a:gd name="connsiteY2" fmla="*/ 4017242 h 4017242"/>
              <a:gd name="connsiteX3" fmla="*/ 57814 w 1647996"/>
              <a:gd name="connsiteY3" fmla="*/ 109645 h 4017242"/>
              <a:gd name="connsiteX0" fmla="*/ 52689 w 1648022"/>
              <a:gd name="connsiteY0" fmla="*/ 65857 h 4017242"/>
              <a:gd name="connsiteX1" fmla="*/ 1648022 w 1648022"/>
              <a:gd name="connsiteY1" fmla="*/ 0 h 4017242"/>
              <a:gd name="connsiteX2" fmla="*/ 379 w 1648022"/>
              <a:gd name="connsiteY2" fmla="*/ 4017242 h 4017242"/>
              <a:gd name="connsiteX3" fmla="*/ 52689 w 1648022"/>
              <a:gd name="connsiteY3" fmla="*/ 65857 h 4017242"/>
              <a:gd name="connsiteX0" fmla="*/ 9598 w 1648720"/>
              <a:gd name="connsiteY0" fmla="*/ 0 h 4020931"/>
              <a:gd name="connsiteX1" fmla="*/ 1648720 w 1648720"/>
              <a:gd name="connsiteY1" fmla="*/ 3689 h 4020931"/>
              <a:gd name="connsiteX2" fmla="*/ 1077 w 1648720"/>
              <a:gd name="connsiteY2" fmla="*/ 4020931 h 4020931"/>
              <a:gd name="connsiteX3" fmla="*/ 9598 w 1648720"/>
              <a:gd name="connsiteY3" fmla="*/ 0 h 4020931"/>
              <a:gd name="connsiteX0" fmla="*/ 12067 w 1651189"/>
              <a:gd name="connsiteY0" fmla="*/ 0 h 4023507"/>
              <a:gd name="connsiteX1" fmla="*/ 1651189 w 1651189"/>
              <a:gd name="connsiteY1" fmla="*/ 3689 h 4023507"/>
              <a:gd name="connsiteX2" fmla="*/ 971 w 1651189"/>
              <a:gd name="connsiteY2" fmla="*/ 4023507 h 4023507"/>
              <a:gd name="connsiteX3" fmla="*/ 12067 w 1651189"/>
              <a:gd name="connsiteY3" fmla="*/ 0 h 4023507"/>
              <a:gd name="connsiteX0" fmla="*/ 0 w 1639122"/>
              <a:gd name="connsiteY0" fmla="*/ 0 h 4023507"/>
              <a:gd name="connsiteX1" fmla="*/ 1639122 w 1639122"/>
              <a:gd name="connsiteY1" fmla="*/ 3689 h 4023507"/>
              <a:gd name="connsiteX2" fmla="*/ 6935 w 1639122"/>
              <a:gd name="connsiteY2" fmla="*/ 4023507 h 4023507"/>
              <a:gd name="connsiteX3" fmla="*/ 0 w 1639122"/>
              <a:gd name="connsiteY3" fmla="*/ 0 h 4023507"/>
              <a:gd name="connsiteX0" fmla="*/ 17059 w 1656181"/>
              <a:gd name="connsiteY0" fmla="*/ 0 h 4015780"/>
              <a:gd name="connsiteX1" fmla="*/ 1656181 w 1656181"/>
              <a:gd name="connsiteY1" fmla="*/ 3689 h 4015780"/>
              <a:gd name="connsiteX2" fmla="*/ 812 w 1656181"/>
              <a:gd name="connsiteY2" fmla="*/ 4015780 h 4015780"/>
              <a:gd name="connsiteX3" fmla="*/ 17059 w 1656181"/>
              <a:gd name="connsiteY3" fmla="*/ 0 h 4015780"/>
              <a:gd name="connsiteX0" fmla="*/ 0 w 1639122"/>
              <a:gd name="connsiteY0" fmla="*/ 0 h 3899870"/>
              <a:gd name="connsiteX1" fmla="*/ 1639122 w 1639122"/>
              <a:gd name="connsiteY1" fmla="*/ 3689 h 3899870"/>
              <a:gd name="connsiteX2" fmla="*/ 73905 w 1639122"/>
              <a:gd name="connsiteY2" fmla="*/ 3899870 h 3899870"/>
              <a:gd name="connsiteX3" fmla="*/ 0 w 1639122"/>
              <a:gd name="connsiteY3" fmla="*/ 0 h 3899870"/>
              <a:gd name="connsiteX0" fmla="*/ 0 w 1639122"/>
              <a:gd name="connsiteY0" fmla="*/ 0 h 3987447"/>
              <a:gd name="connsiteX1" fmla="*/ 1639122 w 1639122"/>
              <a:gd name="connsiteY1" fmla="*/ 3689 h 3987447"/>
              <a:gd name="connsiteX2" fmla="*/ 6935 w 1639122"/>
              <a:gd name="connsiteY2" fmla="*/ 3987447 h 3987447"/>
              <a:gd name="connsiteX3" fmla="*/ 0 w 1639122"/>
              <a:gd name="connsiteY3" fmla="*/ 0 h 3987447"/>
              <a:gd name="connsiteX0" fmla="*/ 144 w 1639266"/>
              <a:gd name="connsiteY0" fmla="*/ 0 h 3987447"/>
              <a:gd name="connsiteX1" fmla="*/ 1639266 w 1639266"/>
              <a:gd name="connsiteY1" fmla="*/ 3689 h 3987447"/>
              <a:gd name="connsiteX2" fmla="*/ 1927 w 1639266"/>
              <a:gd name="connsiteY2" fmla="*/ 3987447 h 3987447"/>
              <a:gd name="connsiteX3" fmla="*/ 144 w 1639266"/>
              <a:gd name="connsiteY3" fmla="*/ 0 h 3987447"/>
              <a:gd name="connsiteX0" fmla="*/ 2397 w 1641519"/>
              <a:gd name="connsiteY0" fmla="*/ 0 h 3995174"/>
              <a:gd name="connsiteX1" fmla="*/ 1641519 w 1641519"/>
              <a:gd name="connsiteY1" fmla="*/ 3689 h 3995174"/>
              <a:gd name="connsiteX2" fmla="*/ 1605 w 1641519"/>
              <a:gd name="connsiteY2" fmla="*/ 3995174 h 3995174"/>
              <a:gd name="connsiteX3" fmla="*/ 2397 w 1641519"/>
              <a:gd name="connsiteY3" fmla="*/ 0 h 3995174"/>
              <a:gd name="connsiteX0" fmla="*/ 9681 w 1648803"/>
              <a:gd name="connsiteY0" fmla="*/ 0 h 5116681"/>
              <a:gd name="connsiteX1" fmla="*/ 1648803 w 1648803"/>
              <a:gd name="connsiteY1" fmla="*/ 3689 h 5116681"/>
              <a:gd name="connsiteX2" fmla="*/ 1073 w 1648803"/>
              <a:gd name="connsiteY2" fmla="*/ 5116681 h 5116681"/>
              <a:gd name="connsiteX3" fmla="*/ 9681 w 1648803"/>
              <a:gd name="connsiteY3" fmla="*/ 0 h 5116681"/>
              <a:gd name="connsiteX0" fmla="*/ 9681 w 2078650"/>
              <a:gd name="connsiteY0" fmla="*/ 0 h 5116681"/>
              <a:gd name="connsiteX1" fmla="*/ 2078650 w 2078650"/>
              <a:gd name="connsiteY1" fmla="*/ 3689 h 5116681"/>
              <a:gd name="connsiteX2" fmla="*/ 1073 w 2078650"/>
              <a:gd name="connsiteY2" fmla="*/ 5116681 h 5116681"/>
              <a:gd name="connsiteX3" fmla="*/ 9681 w 2078650"/>
              <a:gd name="connsiteY3" fmla="*/ 0 h 5116681"/>
              <a:gd name="connsiteX0" fmla="*/ 5986 w 2078862"/>
              <a:gd name="connsiteY0" fmla="*/ 0 h 5120589"/>
              <a:gd name="connsiteX1" fmla="*/ 2078862 w 2078862"/>
              <a:gd name="connsiteY1" fmla="*/ 7597 h 5120589"/>
              <a:gd name="connsiteX2" fmla="*/ 1285 w 2078862"/>
              <a:gd name="connsiteY2" fmla="*/ 5120589 h 5120589"/>
              <a:gd name="connsiteX3" fmla="*/ 5986 w 2078862"/>
              <a:gd name="connsiteY3" fmla="*/ 0 h 5120589"/>
              <a:gd name="connsiteX0" fmla="*/ 2400 w 2075276"/>
              <a:gd name="connsiteY0" fmla="*/ 0 h 5108866"/>
              <a:gd name="connsiteX1" fmla="*/ 2075276 w 2075276"/>
              <a:gd name="connsiteY1" fmla="*/ 7597 h 5108866"/>
              <a:gd name="connsiteX2" fmla="*/ 1606 w 2075276"/>
              <a:gd name="connsiteY2" fmla="*/ 5108866 h 5108866"/>
              <a:gd name="connsiteX3" fmla="*/ 2400 w 2075276"/>
              <a:gd name="connsiteY3" fmla="*/ 0 h 5108866"/>
              <a:gd name="connsiteX0" fmla="*/ 5987 w 2078863"/>
              <a:gd name="connsiteY0" fmla="*/ 0 h 5136220"/>
              <a:gd name="connsiteX1" fmla="*/ 2078863 w 2078863"/>
              <a:gd name="connsiteY1" fmla="*/ 7597 h 5136220"/>
              <a:gd name="connsiteX2" fmla="*/ 1285 w 2078863"/>
              <a:gd name="connsiteY2" fmla="*/ 5136220 h 5136220"/>
              <a:gd name="connsiteX3" fmla="*/ 5987 w 2078863"/>
              <a:gd name="connsiteY3" fmla="*/ 0 h 5136220"/>
              <a:gd name="connsiteX0" fmla="*/ 5987 w 2086007"/>
              <a:gd name="connsiteY0" fmla="*/ 0 h 5136220"/>
              <a:gd name="connsiteX1" fmla="*/ 2086007 w 2086007"/>
              <a:gd name="connsiteY1" fmla="*/ 2835 h 5136220"/>
              <a:gd name="connsiteX2" fmla="*/ 1285 w 2086007"/>
              <a:gd name="connsiteY2" fmla="*/ 5136220 h 5136220"/>
              <a:gd name="connsiteX3" fmla="*/ 5987 w 2086007"/>
              <a:gd name="connsiteY3" fmla="*/ 0 h 51362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086007" h="5136220">
                <a:moveTo>
                  <a:pt x="5987" y="0"/>
                </a:moveTo>
                <a:lnTo>
                  <a:pt x="2086007" y="2835"/>
                </a:lnTo>
                <a:cubicBezTo>
                  <a:pt x="1539369" y="1333330"/>
                  <a:pt x="547923" y="3805725"/>
                  <a:pt x="1285" y="5136220"/>
                </a:cubicBezTo>
                <a:cubicBezTo>
                  <a:pt x="-4577" y="3790997"/>
                  <a:pt x="11849" y="1354016"/>
                  <a:pt x="5987" y="0"/>
                </a:cubicBezTo>
                <a:close/>
              </a:path>
            </a:pathLst>
          </a:custGeom>
          <a:gradFill>
            <a:gsLst>
              <a:gs pos="0">
                <a:srgbClr val="648C1A"/>
              </a:gs>
              <a:gs pos="100000">
                <a:schemeClr val="accent2"/>
              </a:gs>
            </a:gsLst>
            <a:lin ang="108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</p:spTree>
    <p:extLst>
      <p:ext uri="{BB962C8B-B14F-4D97-AF65-F5344CB8AC3E}">
        <p14:creationId xmlns:p14="http://schemas.microsoft.com/office/powerpoint/2010/main" val="843485928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4" name="think-cell Slide" r:id="rId5" imgW="530" imgH="531" progId="TCLayout.ActiveDocument.1">
                  <p:embed/>
                </p:oleObj>
              </mc:Choice>
              <mc:Fallback>
                <p:oleObj name="think-cell Slide" r:id="rId5" imgW="530" imgH="531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"/>
          <p:cNvSpPr>
            <a:spLocks noGrp="1"/>
          </p:cNvSpPr>
          <p:nvPr>
            <p:ph idx="1"/>
          </p:nvPr>
        </p:nvSpPr>
        <p:spPr bwMode="gray">
          <a:xfrm>
            <a:off x="287453" y="1341114"/>
            <a:ext cx="11625600" cy="4828044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/>
            </a:lvl6pPr>
            <a:lvl7pPr fontAlgn="base">
              <a:lnSpc>
                <a:spcPct val="100000"/>
              </a:lnSpc>
              <a:spcAft>
                <a:spcPts val="0"/>
              </a:spcAft>
              <a:defRPr/>
            </a:lvl7pPr>
            <a:lvl8pPr fontAlgn="base">
              <a:lnSpc>
                <a:spcPct val="100000"/>
              </a:lnSpc>
              <a:spcAft>
                <a:spcPts val="0"/>
              </a:spcAft>
              <a:defRPr/>
            </a:lvl8pPr>
            <a:lvl9pPr fontAlgn="base">
              <a:lnSpc>
                <a:spcPct val="100000"/>
              </a:lnSpc>
              <a:spcAft>
                <a:spcPts val="0"/>
              </a:spcAft>
              <a:defRPr/>
            </a:lvl9pPr>
          </a:lstStyle>
          <a:p>
            <a:pPr lvl="0"/>
            <a:r>
              <a:rPr lang="en-US" altLang="ja-JP"/>
              <a:t>Click to edit Master text styles</a:t>
            </a:r>
          </a:p>
          <a:p>
            <a:pPr lvl="1"/>
            <a:r>
              <a:rPr lang="en-US" altLang="ja-JP"/>
              <a:t>Second level</a:t>
            </a:r>
          </a:p>
          <a:p>
            <a:pPr lvl="2"/>
            <a:r>
              <a:rPr lang="en-US" altLang="ja-JP"/>
              <a:t>Third level</a:t>
            </a:r>
          </a:p>
          <a:p>
            <a:pPr lvl="3"/>
            <a:r>
              <a:rPr lang="en-US" altLang="ja-JP"/>
              <a:t>Fourth level</a:t>
            </a:r>
          </a:p>
          <a:p>
            <a:pPr lvl="4"/>
            <a:r>
              <a:rPr lang="en-US" altLang="ja-JP"/>
              <a:t>Fifth level</a:t>
            </a:r>
            <a:endParaRPr lang="en-GB" dirty="0"/>
          </a:p>
        </p:txBody>
      </p:sp>
      <p:sp>
        <p:nvSpPr>
          <p:cNvPr id="9" name="Title"/>
          <p:cNvSpPr>
            <a:spLocks noGrp="1" noChangeArrowheads="1"/>
          </p:cNvSpPr>
          <p:nvPr>
            <p:ph type="title"/>
            <p:custDataLst>
              <p:tags r:id="rId3"/>
            </p:custDataLst>
          </p:nvPr>
        </p:nvSpPr>
        <p:spPr bwMode="gray">
          <a:xfrm>
            <a:off x="287453" y="1"/>
            <a:ext cx="11625600" cy="1011600"/>
          </a:xfrm>
          <a:prstGeom prst="rect">
            <a:avLst/>
          </a:prstGeom>
        </p:spPr>
        <p:txBody>
          <a:bodyPr anchor="b"/>
          <a:lstStyle/>
          <a:p>
            <a:pPr lvl="0"/>
            <a:r>
              <a:rPr lang="en-US" altLang="ja-JP"/>
              <a:t>Click to edit Master title style</a:t>
            </a:r>
            <a:endParaRPr lang="en-GB" dirty="0"/>
          </a:p>
        </p:txBody>
      </p:sp>
      <p:sp>
        <p:nvSpPr>
          <p:cNvPr id="6" name="Content"/>
          <p:cNvSpPr>
            <a:spLocks noGrp="1"/>
          </p:cNvSpPr>
          <p:nvPr>
            <p:ph idx="10" hasCustomPrompt="1"/>
          </p:nvPr>
        </p:nvSpPr>
        <p:spPr bwMode="gray">
          <a:xfrm>
            <a:off x="287453" y="6046048"/>
            <a:ext cx="11625600" cy="123111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en-US" sz="800" dirty="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/>
            </a:lvl6pPr>
            <a:lvl7pPr fontAlgn="base">
              <a:lnSpc>
                <a:spcPct val="100000"/>
              </a:lnSpc>
              <a:spcAft>
                <a:spcPts val="0"/>
              </a:spcAft>
              <a:defRPr/>
            </a:lvl7pPr>
            <a:lvl8pPr fontAlgn="base">
              <a:lnSpc>
                <a:spcPct val="100000"/>
              </a:lnSpc>
              <a:spcAft>
                <a:spcPts val="0"/>
              </a:spcAft>
              <a:defRPr/>
            </a:lvl8pPr>
            <a:lvl9pPr fontAlgn="base">
              <a:lnSpc>
                <a:spcPct val="100000"/>
              </a:lnSpc>
              <a:spcAft>
                <a:spcPts val="0"/>
              </a:spcAft>
              <a:defRPr/>
            </a:lvl9pPr>
          </a:lstStyle>
          <a:p>
            <a:pPr lvl="0"/>
            <a:r>
              <a:rPr lang="en-GB" dirty="0"/>
              <a:t>Source: </a:t>
            </a:r>
          </a:p>
        </p:txBody>
      </p:sp>
    </p:spTree>
    <p:extLst>
      <p:ext uri="{BB962C8B-B14F-4D97-AF65-F5344CB8AC3E}">
        <p14:creationId xmlns:p14="http://schemas.microsoft.com/office/powerpoint/2010/main" val="1342535987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with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"/>
          <p:cNvSpPr>
            <a:spLocks noGrp="1"/>
          </p:cNvSpPr>
          <p:nvPr>
            <p:ph idx="1"/>
          </p:nvPr>
        </p:nvSpPr>
        <p:spPr bwMode="gray">
          <a:xfrm>
            <a:off x="287453" y="1944002"/>
            <a:ext cx="11625600" cy="4225156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fontAlgn="base">
              <a:lnSpc>
                <a:spcPct val="100000"/>
              </a:lnSpc>
              <a:spcAft>
                <a:spcPts val="0"/>
              </a:spcAft>
              <a:defRPr lang="en-US" sz="1400" dirty="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sz="1400" dirty="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sz="1400" dirty="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sz="1400" dirty="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sz="1400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/>
            </a:lvl6pPr>
            <a:lvl7pPr fontAlgn="base">
              <a:lnSpc>
                <a:spcPct val="100000"/>
              </a:lnSpc>
              <a:spcAft>
                <a:spcPts val="0"/>
              </a:spcAft>
              <a:defRPr/>
            </a:lvl7pPr>
            <a:lvl8pPr fontAlgn="base">
              <a:lnSpc>
                <a:spcPct val="100000"/>
              </a:lnSpc>
              <a:spcAft>
                <a:spcPts val="0"/>
              </a:spcAft>
              <a:defRPr/>
            </a:lvl8pPr>
            <a:lvl9pPr fontAlgn="base">
              <a:lnSpc>
                <a:spcPct val="100000"/>
              </a:lnSpc>
              <a:spcAft>
                <a:spcPts val="0"/>
              </a:spcAft>
              <a:defRPr/>
            </a:lvl9pPr>
          </a:lstStyle>
          <a:p>
            <a:pPr lvl="0"/>
            <a:r>
              <a:rPr lang="en-US" altLang="ja-JP"/>
              <a:t>Click to edit Master text styles</a:t>
            </a:r>
          </a:p>
          <a:p>
            <a:pPr lvl="1"/>
            <a:r>
              <a:rPr lang="en-US" altLang="ja-JP"/>
              <a:t>Second level</a:t>
            </a:r>
          </a:p>
          <a:p>
            <a:pPr lvl="2"/>
            <a:r>
              <a:rPr lang="en-US" altLang="ja-JP"/>
              <a:t>Third level</a:t>
            </a:r>
          </a:p>
          <a:p>
            <a:pPr lvl="3"/>
            <a:r>
              <a:rPr lang="en-US" altLang="ja-JP"/>
              <a:t>Fourth level</a:t>
            </a:r>
          </a:p>
          <a:p>
            <a:pPr lvl="4"/>
            <a:r>
              <a:rPr lang="en-US" altLang="ja-JP"/>
              <a:t>Fifth level</a:t>
            </a:r>
            <a:endParaRPr lang="en-GB" dirty="0"/>
          </a:p>
        </p:txBody>
      </p:sp>
      <p:sp>
        <p:nvSpPr>
          <p:cNvPr id="8" name="Heading 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287453" y="1341115"/>
            <a:ext cx="11625600" cy="430887"/>
          </a:xfrm>
        </p:spPr>
        <p:txBody>
          <a:bodyPr wrap="square" lIns="0" tIns="0" rIns="0" bIns="0"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400" b="1">
                <a:solidFill>
                  <a:schemeClr val="accent1"/>
                </a:solidFill>
                <a:latin typeface="+mn-lt"/>
                <a:sym typeface="+mn-lt"/>
              </a:defRPr>
            </a:lvl1pPr>
            <a:lvl2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400">
                <a:solidFill>
                  <a:schemeClr val="accent1"/>
                </a:solidFill>
                <a:latin typeface="+mn-lt"/>
                <a:sym typeface="+mn-lt"/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Heading 14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4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6" name="Title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gray">
          <a:xfrm>
            <a:off x="287453" y="1"/>
            <a:ext cx="11625600" cy="1011600"/>
          </a:xfrm>
          <a:prstGeom prst="rect">
            <a:avLst/>
          </a:prstGeom>
        </p:spPr>
        <p:txBody>
          <a:bodyPr anchor="b"/>
          <a:lstStyle/>
          <a:p>
            <a:pPr lvl="0"/>
            <a:r>
              <a:rPr lang="en-US" altLang="ja-JP"/>
              <a:t>Click to edit Master title style</a:t>
            </a:r>
            <a:endParaRPr lang="en-GB" dirty="0"/>
          </a:p>
        </p:txBody>
      </p:sp>
      <p:sp>
        <p:nvSpPr>
          <p:cNvPr id="9" name="Content"/>
          <p:cNvSpPr>
            <a:spLocks noGrp="1"/>
          </p:cNvSpPr>
          <p:nvPr>
            <p:ph idx="10" hasCustomPrompt="1"/>
          </p:nvPr>
        </p:nvSpPr>
        <p:spPr bwMode="gray">
          <a:xfrm>
            <a:off x="287453" y="6046048"/>
            <a:ext cx="11625600" cy="123111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en-US" sz="800" dirty="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/>
            </a:lvl6pPr>
            <a:lvl7pPr fontAlgn="base">
              <a:lnSpc>
                <a:spcPct val="100000"/>
              </a:lnSpc>
              <a:spcAft>
                <a:spcPts val="0"/>
              </a:spcAft>
              <a:defRPr/>
            </a:lvl7pPr>
            <a:lvl8pPr fontAlgn="base">
              <a:lnSpc>
                <a:spcPct val="100000"/>
              </a:lnSpc>
              <a:spcAft>
                <a:spcPts val="0"/>
              </a:spcAft>
              <a:defRPr/>
            </a:lvl8pPr>
            <a:lvl9pPr fontAlgn="base">
              <a:lnSpc>
                <a:spcPct val="100000"/>
              </a:lnSpc>
              <a:spcAft>
                <a:spcPts val="0"/>
              </a:spcAft>
              <a:defRPr/>
            </a:lvl9pPr>
          </a:lstStyle>
          <a:p>
            <a:pPr lvl="0"/>
            <a:r>
              <a:rPr lang="en-GB" dirty="0"/>
              <a:t>Source: </a:t>
            </a:r>
          </a:p>
        </p:txBody>
      </p:sp>
    </p:spTree>
    <p:extLst>
      <p:ext uri="{BB962C8B-B14F-4D97-AF65-F5344CB8AC3E}">
        <p14:creationId xmlns:p14="http://schemas.microsoft.com/office/powerpoint/2010/main" val="2858815997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6096007" y="1"/>
            <a:ext cx="6095999" cy="685713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19" name="Text Placeholder 23"/>
          <p:cNvSpPr>
            <a:spLocks noGrp="1"/>
          </p:cNvSpPr>
          <p:nvPr>
            <p:ph type="body" sz="quarter" idx="12" hasCustomPrompt="1"/>
          </p:nvPr>
        </p:nvSpPr>
        <p:spPr>
          <a:xfrm>
            <a:off x="8947053" y="858420"/>
            <a:ext cx="2963436" cy="4842504"/>
          </a:xfrm>
          <a:prstGeom prst="rect">
            <a:avLst/>
          </a:prstGeom>
        </p:spPr>
        <p:txBody>
          <a:bodyPr vert="horz" lIns="0" rIns="0" bIns="0" anchor="ctr"/>
          <a:lstStyle>
            <a:lvl1pPr marL="0" indent="0">
              <a:buFontTx/>
              <a:buNone/>
              <a:defRPr sz="2000" cap="all" baseline="0">
                <a:solidFill>
                  <a:srgbClr val="555759"/>
                </a:solidFill>
              </a:defRPr>
            </a:lvl1pPr>
            <a:lvl2pPr marL="457178" indent="0">
              <a:buFontTx/>
              <a:buNone/>
              <a:defRPr sz="2400" cap="all" baseline="0">
                <a:solidFill>
                  <a:schemeClr val="bg1"/>
                </a:solidFill>
              </a:defRPr>
            </a:lvl2pPr>
            <a:lvl3pPr marL="914354" indent="0">
              <a:buFontTx/>
              <a:buNone/>
              <a:defRPr sz="2400" cap="all" baseline="0">
                <a:solidFill>
                  <a:schemeClr val="bg1"/>
                </a:solidFill>
              </a:defRPr>
            </a:lvl3pPr>
            <a:lvl4pPr marL="1371532" indent="0">
              <a:buFontTx/>
              <a:buNone/>
              <a:defRPr sz="2400" cap="all" baseline="0">
                <a:solidFill>
                  <a:schemeClr val="bg1"/>
                </a:solidFill>
              </a:defRPr>
            </a:lvl4pPr>
            <a:lvl5pPr marL="1828709" indent="0">
              <a:buFontTx/>
              <a:buNone/>
              <a:defRPr sz="2400" cap="all" baseline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Section #:</a:t>
            </a:r>
          </a:p>
          <a:p>
            <a:pPr lvl="0"/>
            <a:r>
              <a:rPr lang="en-US" dirty="0"/>
              <a:t>Click to add text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07280" y="6400190"/>
            <a:ext cx="1303209" cy="168518"/>
          </a:xfrm>
          <a:prstGeom prst="rect">
            <a:avLst/>
          </a:prstGeom>
        </p:spPr>
      </p:pic>
      <p:sp>
        <p:nvSpPr>
          <p:cNvPr id="9" name="Rectangle 8"/>
          <p:cNvSpPr/>
          <p:nvPr userDrawn="1"/>
        </p:nvSpPr>
        <p:spPr>
          <a:xfrm>
            <a:off x="1" y="866"/>
            <a:ext cx="6096000" cy="6857135"/>
          </a:xfrm>
          <a:prstGeom prst="rect">
            <a:avLst/>
          </a:prstGeom>
          <a:solidFill>
            <a:srgbClr val="55575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pic>
        <p:nvPicPr>
          <p:cNvPr id="21" name="Picture 20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72526" y="858420"/>
            <a:ext cx="5246949" cy="48425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93422433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Right"/>
          <p:cNvSpPr>
            <a:spLocks noGrp="1"/>
          </p:cNvSpPr>
          <p:nvPr>
            <p:ph idx="11"/>
          </p:nvPr>
        </p:nvSpPr>
        <p:spPr bwMode="gray">
          <a:xfrm>
            <a:off x="6393053" y="1341114"/>
            <a:ext cx="5520000" cy="4828044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sz="1200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 sz="1200"/>
            </a:lvl6pPr>
            <a:lvl7pPr fontAlgn="base">
              <a:lnSpc>
                <a:spcPct val="100000"/>
              </a:lnSpc>
              <a:spcAft>
                <a:spcPts val="0"/>
              </a:spcAft>
              <a:defRPr sz="1200"/>
            </a:lvl7pPr>
            <a:lvl8pPr fontAlgn="base">
              <a:lnSpc>
                <a:spcPct val="100000"/>
              </a:lnSpc>
              <a:spcAft>
                <a:spcPts val="0"/>
              </a:spcAft>
              <a:defRPr sz="1200"/>
            </a:lvl8pPr>
            <a:lvl9pPr fontAlgn="base">
              <a:lnSpc>
                <a:spcPct val="100000"/>
              </a:lnSpc>
              <a:spcAft>
                <a:spcPts val="0"/>
              </a:spcAft>
              <a:defRPr sz="1200"/>
            </a:lvl9pPr>
          </a:lstStyle>
          <a:p>
            <a:pPr lvl="0"/>
            <a:r>
              <a:rPr lang="en-US" altLang="ja-JP"/>
              <a:t>Click to edit Master text styles</a:t>
            </a:r>
          </a:p>
          <a:p>
            <a:pPr lvl="1"/>
            <a:r>
              <a:rPr lang="en-US" altLang="ja-JP"/>
              <a:t>Second level</a:t>
            </a:r>
          </a:p>
          <a:p>
            <a:pPr lvl="2"/>
            <a:r>
              <a:rPr lang="en-US" altLang="ja-JP"/>
              <a:t>Third level</a:t>
            </a:r>
          </a:p>
          <a:p>
            <a:pPr lvl="3"/>
            <a:r>
              <a:rPr lang="en-US" altLang="ja-JP"/>
              <a:t>Fourth level</a:t>
            </a:r>
          </a:p>
          <a:p>
            <a:pPr lvl="4"/>
            <a:r>
              <a:rPr lang="en-US" altLang="ja-JP"/>
              <a:t>Fifth level</a:t>
            </a:r>
            <a:endParaRPr lang="en-GB" dirty="0"/>
          </a:p>
        </p:txBody>
      </p:sp>
      <p:sp>
        <p:nvSpPr>
          <p:cNvPr id="5" name="Content Left"/>
          <p:cNvSpPr>
            <a:spLocks noGrp="1"/>
          </p:cNvSpPr>
          <p:nvPr>
            <p:ph idx="1"/>
          </p:nvPr>
        </p:nvSpPr>
        <p:spPr bwMode="gray">
          <a:xfrm>
            <a:off x="287455" y="1341114"/>
            <a:ext cx="5520000" cy="4828044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sz="1200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 sz="1200"/>
            </a:lvl6pPr>
            <a:lvl7pPr fontAlgn="base">
              <a:lnSpc>
                <a:spcPct val="100000"/>
              </a:lnSpc>
              <a:spcAft>
                <a:spcPts val="0"/>
              </a:spcAft>
              <a:defRPr sz="1200"/>
            </a:lvl7pPr>
            <a:lvl8pPr fontAlgn="base">
              <a:lnSpc>
                <a:spcPct val="100000"/>
              </a:lnSpc>
              <a:spcAft>
                <a:spcPts val="0"/>
              </a:spcAft>
              <a:defRPr sz="1200"/>
            </a:lvl8pPr>
            <a:lvl9pPr fontAlgn="base">
              <a:lnSpc>
                <a:spcPct val="100000"/>
              </a:lnSpc>
              <a:spcAft>
                <a:spcPts val="0"/>
              </a:spcAft>
              <a:defRPr sz="1200"/>
            </a:lvl9pPr>
          </a:lstStyle>
          <a:p>
            <a:pPr lvl="0"/>
            <a:r>
              <a:rPr lang="en-US" altLang="ja-JP"/>
              <a:t>Click to edit Master text styles</a:t>
            </a:r>
          </a:p>
          <a:p>
            <a:pPr lvl="1"/>
            <a:r>
              <a:rPr lang="en-US" altLang="ja-JP"/>
              <a:t>Second level</a:t>
            </a:r>
          </a:p>
          <a:p>
            <a:pPr lvl="2"/>
            <a:r>
              <a:rPr lang="en-US" altLang="ja-JP"/>
              <a:t>Third level</a:t>
            </a:r>
          </a:p>
          <a:p>
            <a:pPr lvl="3"/>
            <a:r>
              <a:rPr lang="en-US" altLang="ja-JP"/>
              <a:t>Fourth level</a:t>
            </a:r>
          </a:p>
          <a:p>
            <a:pPr lvl="4"/>
            <a:r>
              <a:rPr lang="en-US" altLang="ja-JP"/>
              <a:t>Fifth level</a:t>
            </a:r>
            <a:endParaRPr lang="en-GB" dirty="0"/>
          </a:p>
        </p:txBody>
      </p:sp>
      <p:sp>
        <p:nvSpPr>
          <p:cNvPr id="8" name="Title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gray">
          <a:xfrm>
            <a:off x="287453" y="1"/>
            <a:ext cx="11625600" cy="1011600"/>
          </a:xfrm>
          <a:prstGeom prst="rect">
            <a:avLst/>
          </a:prstGeom>
        </p:spPr>
        <p:txBody>
          <a:bodyPr anchor="b"/>
          <a:lstStyle/>
          <a:p>
            <a:pPr lvl="0"/>
            <a:r>
              <a:rPr lang="en-US" altLang="ja-JP"/>
              <a:t>Click to edit Master title style</a:t>
            </a:r>
            <a:endParaRPr lang="en-GB" dirty="0"/>
          </a:p>
        </p:txBody>
      </p:sp>
      <p:sp>
        <p:nvSpPr>
          <p:cNvPr id="9" name="Content"/>
          <p:cNvSpPr>
            <a:spLocks noGrp="1"/>
          </p:cNvSpPr>
          <p:nvPr>
            <p:ph idx="10" hasCustomPrompt="1"/>
          </p:nvPr>
        </p:nvSpPr>
        <p:spPr bwMode="gray">
          <a:xfrm>
            <a:off x="287453" y="6046048"/>
            <a:ext cx="11625600" cy="123111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en-US" sz="800" dirty="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/>
            </a:lvl6pPr>
            <a:lvl7pPr fontAlgn="base">
              <a:lnSpc>
                <a:spcPct val="100000"/>
              </a:lnSpc>
              <a:spcAft>
                <a:spcPts val="0"/>
              </a:spcAft>
              <a:defRPr/>
            </a:lvl7pPr>
            <a:lvl8pPr fontAlgn="base">
              <a:lnSpc>
                <a:spcPct val="100000"/>
              </a:lnSpc>
              <a:spcAft>
                <a:spcPts val="0"/>
              </a:spcAft>
              <a:defRPr/>
            </a:lvl8pPr>
            <a:lvl9pPr fontAlgn="base">
              <a:lnSpc>
                <a:spcPct val="100000"/>
              </a:lnSpc>
              <a:spcAft>
                <a:spcPts val="0"/>
              </a:spcAft>
              <a:defRPr/>
            </a:lvl9pPr>
          </a:lstStyle>
          <a:p>
            <a:pPr lvl="0"/>
            <a:r>
              <a:rPr lang="en-GB" dirty="0"/>
              <a:t>Source: </a:t>
            </a:r>
          </a:p>
        </p:txBody>
      </p:sp>
    </p:spTree>
    <p:extLst>
      <p:ext uri="{BB962C8B-B14F-4D97-AF65-F5344CB8AC3E}">
        <p14:creationId xmlns:p14="http://schemas.microsoft.com/office/powerpoint/2010/main" val="1192878839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with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Content Right"/>
          <p:cNvSpPr>
            <a:spLocks noGrp="1"/>
          </p:cNvSpPr>
          <p:nvPr>
            <p:ph idx="11"/>
          </p:nvPr>
        </p:nvSpPr>
        <p:spPr bwMode="gray">
          <a:xfrm>
            <a:off x="6393053" y="1882448"/>
            <a:ext cx="5520000" cy="4286711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sz="1200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 sz="1200"/>
            </a:lvl6pPr>
            <a:lvl7pPr fontAlgn="base">
              <a:lnSpc>
                <a:spcPct val="100000"/>
              </a:lnSpc>
              <a:spcAft>
                <a:spcPts val="0"/>
              </a:spcAft>
              <a:defRPr sz="1200"/>
            </a:lvl7pPr>
            <a:lvl8pPr fontAlgn="base">
              <a:lnSpc>
                <a:spcPct val="100000"/>
              </a:lnSpc>
              <a:spcAft>
                <a:spcPts val="0"/>
              </a:spcAft>
              <a:defRPr sz="1200"/>
            </a:lvl8pPr>
            <a:lvl9pPr fontAlgn="base">
              <a:lnSpc>
                <a:spcPct val="100000"/>
              </a:lnSpc>
              <a:spcAft>
                <a:spcPts val="0"/>
              </a:spcAft>
              <a:defRPr sz="1200"/>
            </a:lvl9pPr>
          </a:lstStyle>
          <a:p>
            <a:pPr lvl="0"/>
            <a:r>
              <a:rPr lang="en-US" altLang="ja-JP"/>
              <a:t>Click to edit Master text styles</a:t>
            </a:r>
          </a:p>
          <a:p>
            <a:pPr lvl="1"/>
            <a:r>
              <a:rPr lang="en-US" altLang="ja-JP"/>
              <a:t>Second level</a:t>
            </a:r>
          </a:p>
          <a:p>
            <a:pPr lvl="2"/>
            <a:r>
              <a:rPr lang="en-US" altLang="ja-JP"/>
              <a:t>Third level</a:t>
            </a:r>
          </a:p>
          <a:p>
            <a:pPr lvl="3"/>
            <a:r>
              <a:rPr lang="en-US" altLang="ja-JP"/>
              <a:t>Fourth level</a:t>
            </a:r>
          </a:p>
          <a:p>
            <a:pPr lvl="4"/>
            <a:r>
              <a:rPr lang="en-US" altLang="ja-JP"/>
              <a:t>Fifth level</a:t>
            </a:r>
            <a:endParaRPr lang="en-GB" dirty="0"/>
          </a:p>
        </p:txBody>
      </p:sp>
      <p:sp>
        <p:nvSpPr>
          <p:cNvPr id="15" name="Content Left"/>
          <p:cNvSpPr>
            <a:spLocks noGrp="1"/>
          </p:cNvSpPr>
          <p:nvPr>
            <p:ph idx="1"/>
          </p:nvPr>
        </p:nvSpPr>
        <p:spPr bwMode="gray">
          <a:xfrm>
            <a:off x="287451" y="1882448"/>
            <a:ext cx="5520000" cy="4286711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fontAlgn="base">
              <a:lnSpc>
                <a:spcPct val="100000"/>
              </a:lnSpc>
              <a:spcAft>
                <a:spcPts val="0"/>
              </a:spcAft>
              <a:defRPr lang="en-US" sz="120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sz="120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sz="120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sz="120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sz="1200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 sz="1200"/>
            </a:lvl6pPr>
            <a:lvl7pPr fontAlgn="base">
              <a:lnSpc>
                <a:spcPct val="100000"/>
              </a:lnSpc>
              <a:spcAft>
                <a:spcPts val="0"/>
              </a:spcAft>
              <a:defRPr sz="1200"/>
            </a:lvl7pPr>
            <a:lvl8pPr fontAlgn="base">
              <a:lnSpc>
                <a:spcPct val="100000"/>
              </a:lnSpc>
              <a:spcAft>
                <a:spcPts val="0"/>
              </a:spcAft>
              <a:defRPr sz="1200"/>
            </a:lvl8pPr>
            <a:lvl9pPr fontAlgn="base">
              <a:lnSpc>
                <a:spcPct val="100000"/>
              </a:lnSpc>
              <a:spcAft>
                <a:spcPts val="0"/>
              </a:spcAft>
              <a:defRPr sz="1200"/>
            </a:lvl9pPr>
          </a:lstStyle>
          <a:p>
            <a:pPr lvl="0"/>
            <a:r>
              <a:rPr lang="en-US" altLang="ja-JP"/>
              <a:t>Click to edit Master text styles</a:t>
            </a:r>
          </a:p>
          <a:p>
            <a:pPr lvl="1"/>
            <a:r>
              <a:rPr lang="en-US" altLang="ja-JP"/>
              <a:t>Second level</a:t>
            </a:r>
          </a:p>
          <a:p>
            <a:pPr lvl="2"/>
            <a:r>
              <a:rPr lang="en-US" altLang="ja-JP"/>
              <a:t>Third level</a:t>
            </a:r>
          </a:p>
          <a:p>
            <a:pPr lvl="3"/>
            <a:r>
              <a:rPr lang="en-US" altLang="ja-JP"/>
              <a:t>Fourth level</a:t>
            </a:r>
          </a:p>
          <a:p>
            <a:pPr lvl="4"/>
            <a:r>
              <a:rPr lang="en-US" altLang="ja-JP"/>
              <a:t>Fifth level</a:t>
            </a:r>
            <a:endParaRPr lang="en-GB" dirty="0"/>
          </a:p>
        </p:txBody>
      </p:sp>
      <p:sp>
        <p:nvSpPr>
          <p:cNvPr id="14" name="Heading Right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6393053" y="1341114"/>
            <a:ext cx="5520000" cy="369332"/>
          </a:xfrm>
        </p:spPr>
        <p:txBody>
          <a:bodyPr wrap="square" lIns="0" tIns="0" rIns="0" bIns="0"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200" b="1">
                <a:solidFill>
                  <a:schemeClr val="accent1"/>
                </a:solidFill>
                <a:latin typeface="+mn-lt"/>
                <a:sym typeface="+mn-lt"/>
              </a:defRPr>
            </a:lvl1pPr>
            <a:lvl2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200">
                <a:solidFill>
                  <a:schemeClr val="accent1"/>
                </a:solidFill>
                <a:latin typeface="+mn-lt"/>
                <a:sym typeface="+mn-lt"/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Heading 12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2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13" name="Heading Left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287455" y="1341114"/>
            <a:ext cx="5520000" cy="369332"/>
          </a:xfrm>
        </p:spPr>
        <p:txBody>
          <a:bodyPr wrap="square" lIns="0" tIns="0" rIns="0" bIns="0"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200" b="1">
                <a:solidFill>
                  <a:schemeClr val="accent1"/>
                </a:solidFill>
                <a:latin typeface="+mn-lt"/>
                <a:sym typeface="+mn-lt"/>
              </a:defRPr>
            </a:lvl1pPr>
            <a:lvl2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200">
                <a:solidFill>
                  <a:schemeClr val="accent1"/>
                </a:solidFill>
                <a:latin typeface="+mn-lt"/>
                <a:sym typeface="+mn-lt"/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Heading 12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2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8" name="Title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gray">
          <a:xfrm>
            <a:off x="287453" y="1"/>
            <a:ext cx="11625600" cy="1011600"/>
          </a:xfrm>
          <a:prstGeom prst="rect">
            <a:avLst/>
          </a:prstGeom>
        </p:spPr>
        <p:txBody>
          <a:bodyPr anchor="b"/>
          <a:lstStyle/>
          <a:p>
            <a:pPr lvl="0"/>
            <a:r>
              <a:rPr lang="en-US" altLang="ja-JP"/>
              <a:t>Click to edit Master title style</a:t>
            </a:r>
            <a:endParaRPr lang="en-GB" dirty="0"/>
          </a:p>
        </p:txBody>
      </p:sp>
      <p:sp>
        <p:nvSpPr>
          <p:cNvPr id="9" name="Content"/>
          <p:cNvSpPr>
            <a:spLocks noGrp="1"/>
          </p:cNvSpPr>
          <p:nvPr>
            <p:ph idx="10" hasCustomPrompt="1"/>
          </p:nvPr>
        </p:nvSpPr>
        <p:spPr bwMode="gray">
          <a:xfrm>
            <a:off x="287453" y="6046048"/>
            <a:ext cx="11625600" cy="123111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en-US" sz="800" dirty="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/>
            </a:lvl6pPr>
            <a:lvl7pPr fontAlgn="base">
              <a:lnSpc>
                <a:spcPct val="100000"/>
              </a:lnSpc>
              <a:spcAft>
                <a:spcPts val="0"/>
              </a:spcAft>
              <a:defRPr/>
            </a:lvl7pPr>
            <a:lvl8pPr fontAlgn="base">
              <a:lnSpc>
                <a:spcPct val="100000"/>
              </a:lnSpc>
              <a:spcAft>
                <a:spcPts val="0"/>
              </a:spcAft>
              <a:defRPr/>
            </a:lvl8pPr>
            <a:lvl9pPr fontAlgn="base">
              <a:lnSpc>
                <a:spcPct val="100000"/>
              </a:lnSpc>
              <a:spcAft>
                <a:spcPts val="0"/>
              </a:spcAft>
              <a:defRPr/>
            </a:lvl9pPr>
          </a:lstStyle>
          <a:p>
            <a:pPr lvl="0"/>
            <a:r>
              <a:rPr lang="en-GB" dirty="0"/>
              <a:t>Source: </a:t>
            </a:r>
          </a:p>
        </p:txBody>
      </p:sp>
    </p:spTree>
    <p:extLst>
      <p:ext uri="{BB962C8B-B14F-4D97-AF65-F5344CB8AC3E}">
        <p14:creationId xmlns:p14="http://schemas.microsoft.com/office/powerpoint/2010/main" val="179290409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y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1396" y="3692"/>
            <a:ext cx="12201685" cy="685430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9" name="Freeform 8"/>
          <p:cNvSpPr/>
          <p:nvPr userDrawn="1"/>
        </p:nvSpPr>
        <p:spPr>
          <a:xfrm>
            <a:off x="-11936" y="-3148"/>
            <a:ext cx="11931119" cy="6867762"/>
          </a:xfrm>
          <a:custGeom>
            <a:avLst/>
            <a:gdLst>
              <a:gd name="connsiteX0" fmla="*/ 1643975 w 8501975"/>
              <a:gd name="connsiteY0" fmla="*/ 0 h 5175115"/>
              <a:gd name="connsiteX1" fmla="*/ 8501975 w 8501975"/>
              <a:gd name="connsiteY1" fmla="*/ 19455 h 5175115"/>
              <a:gd name="connsiteX2" fmla="*/ 4289898 w 8501975"/>
              <a:gd name="connsiteY2" fmla="*/ 5175115 h 5175115"/>
              <a:gd name="connsiteX3" fmla="*/ 0 w 8501975"/>
              <a:gd name="connsiteY3" fmla="*/ 5175115 h 5175115"/>
              <a:gd name="connsiteX4" fmla="*/ 0 w 8501975"/>
              <a:gd name="connsiteY4" fmla="*/ 4027251 h 5175115"/>
              <a:gd name="connsiteX5" fmla="*/ 1643975 w 8501975"/>
              <a:gd name="connsiteY5" fmla="*/ 0 h 5175115"/>
              <a:gd name="connsiteX0" fmla="*/ 1649126 w 8507126"/>
              <a:gd name="connsiteY0" fmla="*/ 0 h 5175115"/>
              <a:gd name="connsiteX1" fmla="*/ 8507126 w 8507126"/>
              <a:gd name="connsiteY1" fmla="*/ 19455 h 5175115"/>
              <a:gd name="connsiteX2" fmla="*/ 4295049 w 8507126"/>
              <a:gd name="connsiteY2" fmla="*/ 5175115 h 5175115"/>
              <a:gd name="connsiteX3" fmla="*/ 5151 w 8507126"/>
              <a:gd name="connsiteY3" fmla="*/ 5175115 h 5175115"/>
              <a:gd name="connsiteX4" fmla="*/ 0 w 8507126"/>
              <a:gd name="connsiteY4" fmla="*/ 4037554 h 5175115"/>
              <a:gd name="connsiteX5" fmla="*/ 1649126 w 8507126"/>
              <a:gd name="connsiteY5" fmla="*/ 0 h 5175115"/>
              <a:gd name="connsiteX0" fmla="*/ 1649127 w 8507127"/>
              <a:gd name="connsiteY0" fmla="*/ 0 h 5175115"/>
              <a:gd name="connsiteX1" fmla="*/ 8507127 w 8507127"/>
              <a:gd name="connsiteY1" fmla="*/ 19455 h 5175115"/>
              <a:gd name="connsiteX2" fmla="*/ 4295050 w 8507127"/>
              <a:gd name="connsiteY2" fmla="*/ 5175115 h 5175115"/>
              <a:gd name="connsiteX3" fmla="*/ 0 w 8507127"/>
              <a:gd name="connsiteY3" fmla="*/ 5175115 h 5175115"/>
              <a:gd name="connsiteX4" fmla="*/ 1 w 8507127"/>
              <a:gd name="connsiteY4" fmla="*/ 4037554 h 5175115"/>
              <a:gd name="connsiteX5" fmla="*/ 1649127 w 8507127"/>
              <a:gd name="connsiteY5" fmla="*/ 0 h 5175115"/>
              <a:gd name="connsiteX0" fmla="*/ 1690339 w 8507127"/>
              <a:gd name="connsiteY0" fmla="*/ 34637 h 5155660"/>
              <a:gd name="connsiteX1" fmla="*/ 8507127 w 8507127"/>
              <a:gd name="connsiteY1" fmla="*/ 0 h 5155660"/>
              <a:gd name="connsiteX2" fmla="*/ 4295050 w 8507127"/>
              <a:gd name="connsiteY2" fmla="*/ 5155660 h 5155660"/>
              <a:gd name="connsiteX3" fmla="*/ 0 w 8507127"/>
              <a:gd name="connsiteY3" fmla="*/ 5155660 h 5155660"/>
              <a:gd name="connsiteX4" fmla="*/ 1 w 8507127"/>
              <a:gd name="connsiteY4" fmla="*/ 4018099 h 5155660"/>
              <a:gd name="connsiteX5" fmla="*/ 1690339 w 8507127"/>
              <a:gd name="connsiteY5" fmla="*/ 34637 h 5155660"/>
              <a:gd name="connsiteX0" fmla="*/ 1651702 w 8507127"/>
              <a:gd name="connsiteY0" fmla="*/ 0 h 5157084"/>
              <a:gd name="connsiteX1" fmla="*/ 8507127 w 8507127"/>
              <a:gd name="connsiteY1" fmla="*/ 1424 h 5157084"/>
              <a:gd name="connsiteX2" fmla="*/ 4295050 w 8507127"/>
              <a:gd name="connsiteY2" fmla="*/ 5157084 h 5157084"/>
              <a:gd name="connsiteX3" fmla="*/ 0 w 8507127"/>
              <a:gd name="connsiteY3" fmla="*/ 5157084 h 5157084"/>
              <a:gd name="connsiteX4" fmla="*/ 1 w 8507127"/>
              <a:gd name="connsiteY4" fmla="*/ 4019523 h 5157084"/>
              <a:gd name="connsiteX5" fmla="*/ 1651702 w 8507127"/>
              <a:gd name="connsiteY5" fmla="*/ 0 h 5157084"/>
              <a:gd name="connsiteX0" fmla="*/ 1651702 w 8507127"/>
              <a:gd name="connsiteY0" fmla="*/ 0 h 5157084"/>
              <a:gd name="connsiteX1" fmla="*/ 8507127 w 8507127"/>
              <a:gd name="connsiteY1" fmla="*/ 1424 h 5157084"/>
              <a:gd name="connsiteX2" fmla="*/ 4295050 w 8507127"/>
              <a:gd name="connsiteY2" fmla="*/ 5157084 h 5157084"/>
              <a:gd name="connsiteX3" fmla="*/ 0 w 8507127"/>
              <a:gd name="connsiteY3" fmla="*/ 5157084 h 5157084"/>
              <a:gd name="connsiteX4" fmla="*/ 46365 w 8507127"/>
              <a:gd name="connsiteY4" fmla="*/ 4006644 h 5157084"/>
              <a:gd name="connsiteX5" fmla="*/ 1651702 w 8507127"/>
              <a:gd name="connsiteY5" fmla="*/ 0 h 5157084"/>
              <a:gd name="connsiteX0" fmla="*/ 1651702 w 8507127"/>
              <a:gd name="connsiteY0" fmla="*/ 0 h 5157084"/>
              <a:gd name="connsiteX1" fmla="*/ 8507127 w 8507127"/>
              <a:gd name="connsiteY1" fmla="*/ 1424 h 5157084"/>
              <a:gd name="connsiteX2" fmla="*/ 4295050 w 8507127"/>
              <a:gd name="connsiteY2" fmla="*/ 5157084 h 5157084"/>
              <a:gd name="connsiteX3" fmla="*/ 0 w 8507127"/>
              <a:gd name="connsiteY3" fmla="*/ 5157084 h 5157084"/>
              <a:gd name="connsiteX4" fmla="*/ 15455 w 8507127"/>
              <a:gd name="connsiteY4" fmla="*/ 3973159 h 5157084"/>
              <a:gd name="connsiteX5" fmla="*/ 1651702 w 8507127"/>
              <a:gd name="connsiteY5" fmla="*/ 0 h 5157084"/>
              <a:gd name="connsiteX0" fmla="*/ 1636247 w 8491672"/>
              <a:gd name="connsiteY0" fmla="*/ 0 h 5157084"/>
              <a:gd name="connsiteX1" fmla="*/ 8491672 w 8491672"/>
              <a:gd name="connsiteY1" fmla="*/ 1424 h 5157084"/>
              <a:gd name="connsiteX2" fmla="*/ 4279595 w 8491672"/>
              <a:gd name="connsiteY2" fmla="*/ 5157084 h 5157084"/>
              <a:gd name="connsiteX3" fmla="*/ 64394 w 8491672"/>
              <a:gd name="connsiteY3" fmla="*/ 5157084 h 5157084"/>
              <a:gd name="connsiteX4" fmla="*/ 0 w 8491672"/>
              <a:gd name="connsiteY4" fmla="*/ 3973159 h 5157084"/>
              <a:gd name="connsiteX5" fmla="*/ 1636247 w 8491672"/>
              <a:gd name="connsiteY5" fmla="*/ 0 h 5157084"/>
              <a:gd name="connsiteX0" fmla="*/ 1638823 w 8494248"/>
              <a:gd name="connsiteY0" fmla="*/ 0 h 5157084"/>
              <a:gd name="connsiteX1" fmla="*/ 8494248 w 8494248"/>
              <a:gd name="connsiteY1" fmla="*/ 1424 h 5157084"/>
              <a:gd name="connsiteX2" fmla="*/ 4282171 w 8494248"/>
              <a:gd name="connsiteY2" fmla="*/ 5157084 h 5157084"/>
              <a:gd name="connsiteX3" fmla="*/ 0 w 8494248"/>
              <a:gd name="connsiteY3" fmla="*/ 5157084 h 5157084"/>
              <a:gd name="connsiteX4" fmla="*/ 2576 w 8494248"/>
              <a:gd name="connsiteY4" fmla="*/ 3973159 h 5157084"/>
              <a:gd name="connsiteX5" fmla="*/ 1638823 w 8494248"/>
              <a:gd name="connsiteY5" fmla="*/ 0 h 5157084"/>
              <a:gd name="connsiteX0" fmla="*/ 1638823 w 8494248"/>
              <a:gd name="connsiteY0" fmla="*/ 0 h 5157084"/>
              <a:gd name="connsiteX1" fmla="*/ 8494248 w 8494248"/>
              <a:gd name="connsiteY1" fmla="*/ 1424 h 5157084"/>
              <a:gd name="connsiteX2" fmla="*/ 4282171 w 8494248"/>
              <a:gd name="connsiteY2" fmla="*/ 5157084 h 5157084"/>
              <a:gd name="connsiteX3" fmla="*/ 0 w 8494248"/>
              <a:gd name="connsiteY3" fmla="*/ 5157084 h 5157084"/>
              <a:gd name="connsiteX4" fmla="*/ 38637 w 8494248"/>
              <a:gd name="connsiteY4" fmla="*/ 4029826 h 5157084"/>
              <a:gd name="connsiteX5" fmla="*/ 1638823 w 8494248"/>
              <a:gd name="connsiteY5" fmla="*/ 0 h 5157084"/>
              <a:gd name="connsiteX0" fmla="*/ 1641398 w 8496823"/>
              <a:gd name="connsiteY0" fmla="*/ 0 h 5157084"/>
              <a:gd name="connsiteX1" fmla="*/ 8496823 w 8496823"/>
              <a:gd name="connsiteY1" fmla="*/ 1424 h 5157084"/>
              <a:gd name="connsiteX2" fmla="*/ 4284746 w 8496823"/>
              <a:gd name="connsiteY2" fmla="*/ 5157084 h 5157084"/>
              <a:gd name="connsiteX3" fmla="*/ 2575 w 8496823"/>
              <a:gd name="connsiteY3" fmla="*/ 5157084 h 5157084"/>
              <a:gd name="connsiteX4" fmla="*/ 0 w 8496823"/>
              <a:gd name="connsiteY4" fmla="*/ 3983462 h 5157084"/>
              <a:gd name="connsiteX5" fmla="*/ 1641398 w 8496823"/>
              <a:gd name="connsiteY5" fmla="*/ 0 h 5157084"/>
              <a:gd name="connsiteX0" fmla="*/ 1638256 w 8496823"/>
              <a:gd name="connsiteY0" fmla="*/ 0 h 5157084"/>
              <a:gd name="connsiteX1" fmla="*/ 8496823 w 8496823"/>
              <a:gd name="connsiteY1" fmla="*/ 1424 h 5157084"/>
              <a:gd name="connsiteX2" fmla="*/ 4284746 w 8496823"/>
              <a:gd name="connsiteY2" fmla="*/ 5157084 h 5157084"/>
              <a:gd name="connsiteX3" fmla="*/ 2575 w 8496823"/>
              <a:gd name="connsiteY3" fmla="*/ 5157084 h 5157084"/>
              <a:gd name="connsiteX4" fmla="*/ 0 w 8496823"/>
              <a:gd name="connsiteY4" fmla="*/ 3983462 h 5157084"/>
              <a:gd name="connsiteX5" fmla="*/ 1638256 w 8496823"/>
              <a:gd name="connsiteY5" fmla="*/ 0 h 5157084"/>
              <a:gd name="connsiteX0" fmla="*/ 1638256 w 8496823"/>
              <a:gd name="connsiteY0" fmla="*/ 0 h 6846184"/>
              <a:gd name="connsiteX1" fmla="*/ 8496823 w 8496823"/>
              <a:gd name="connsiteY1" fmla="*/ 1424 h 6846184"/>
              <a:gd name="connsiteX2" fmla="*/ 2900446 w 8496823"/>
              <a:gd name="connsiteY2" fmla="*/ 6846184 h 6846184"/>
              <a:gd name="connsiteX3" fmla="*/ 2575 w 8496823"/>
              <a:gd name="connsiteY3" fmla="*/ 5157084 h 6846184"/>
              <a:gd name="connsiteX4" fmla="*/ 0 w 8496823"/>
              <a:gd name="connsiteY4" fmla="*/ 3983462 h 6846184"/>
              <a:gd name="connsiteX5" fmla="*/ 1638256 w 8496823"/>
              <a:gd name="connsiteY5" fmla="*/ 0 h 6846184"/>
              <a:gd name="connsiteX0" fmla="*/ 1648381 w 8506948"/>
              <a:gd name="connsiteY0" fmla="*/ 0 h 6858884"/>
              <a:gd name="connsiteX1" fmla="*/ 8506948 w 8506948"/>
              <a:gd name="connsiteY1" fmla="*/ 1424 h 6858884"/>
              <a:gd name="connsiteX2" fmla="*/ 2910571 w 8506948"/>
              <a:gd name="connsiteY2" fmla="*/ 6846184 h 6858884"/>
              <a:gd name="connsiteX3" fmla="*/ 0 w 8506948"/>
              <a:gd name="connsiteY3" fmla="*/ 6858884 h 6858884"/>
              <a:gd name="connsiteX4" fmla="*/ 10125 w 8506948"/>
              <a:gd name="connsiteY4" fmla="*/ 3983462 h 6858884"/>
              <a:gd name="connsiteX5" fmla="*/ 1648381 w 8506948"/>
              <a:gd name="connsiteY5" fmla="*/ 0 h 6858884"/>
              <a:gd name="connsiteX0" fmla="*/ 1597581 w 8506948"/>
              <a:gd name="connsiteY0" fmla="*/ 0 h 6858884"/>
              <a:gd name="connsiteX1" fmla="*/ 8506948 w 8506948"/>
              <a:gd name="connsiteY1" fmla="*/ 1424 h 6858884"/>
              <a:gd name="connsiteX2" fmla="*/ 2910571 w 8506948"/>
              <a:gd name="connsiteY2" fmla="*/ 6846184 h 6858884"/>
              <a:gd name="connsiteX3" fmla="*/ 0 w 8506948"/>
              <a:gd name="connsiteY3" fmla="*/ 6858884 h 6858884"/>
              <a:gd name="connsiteX4" fmla="*/ 10125 w 8506948"/>
              <a:gd name="connsiteY4" fmla="*/ 3983462 h 6858884"/>
              <a:gd name="connsiteX5" fmla="*/ 1597581 w 8506948"/>
              <a:gd name="connsiteY5" fmla="*/ 0 h 6858884"/>
              <a:gd name="connsiteX0" fmla="*/ 2083733 w 8993100"/>
              <a:gd name="connsiteY0" fmla="*/ 0 h 6858884"/>
              <a:gd name="connsiteX1" fmla="*/ 8993100 w 8993100"/>
              <a:gd name="connsiteY1" fmla="*/ 1424 h 6858884"/>
              <a:gd name="connsiteX2" fmla="*/ 3396723 w 8993100"/>
              <a:gd name="connsiteY2" fmla="*/ 6846184 h 6858884"/>
              <a:gd name="connsiteX3" fmla="*/ 486152 w 8993100"/>
              <a:gd name="connsiteY3" fmla="*/ 6858884 h 6858884"/>
              <a:gd name="connsiteX4" fmla="*/ 0 w 8993100"/>
              <a:gd name="connsiteY4" fmla="*/ 5136231 h 6858884"/>
              <a:gd name="connsiteX5" fmla="*/ 2083733 w 8993100"/>
              <a:gd name="connsiteY5" fmla="*/ 0 h 6858884"/>
              <a:gd name="connsiteX0" fmla="*/ 2083733 w 8993100"/>
              <a:gd name="connsiteY0" fmla="*/ 0 h 6862792"/>
              <a:gd name="connsiteX1" fmla="*/ 8993100 w 8993100"/>
              <a:gd name="connsiteY1" fmla="*/ 1424 h 6862792"/>
              <a:gd name="connsiteX2" fmla="*/ 3396723 w 8993100"/>
              <a:gd name="connsiteY2" fmla="*/ 6846184 h 6862792"/>
              <a:gd name="connsiteX3" fmla="*/ 9413 w 8993100"/>
              <a:gd name="connsiteY3" fmla="*/ 6862792 h 6862792"/>
              <a:gd name="connsiteX4" fmla="*/ 0 w 8993100"/>
              <a:gd name="connsiteY4" fmla="*/ 5136231 h 6862792"/>
              <a:gd name="connsiteX5" fmla="*/ 2083733 w 8993100"/>
              <a:gd name="connsiteY5" fmla="*/ 0 h 6862792"/>
              <a:gd name="connsiteX0" fmla="*/ 2083733 w 8993100"/>
              <a:gd name="connsiteY0" fmla="*/ 0 h 6862792"/>
              <a:gd name="connsiteX1" fmla="*/ 8993100 w 8993100"/>
              <a:gd name="connsiteY1" fmla="*/ 1424 h 6862792"/>
              <a:gd name="connsiteX2" fmla="*/ 3396723 w 8993100"/>
              <a:gd name="connsiteY2" fmla="*/ 6846184 h 6862792"/>
              <a:gd name="connsiteX3" fmla="*/ 9413 w 8993100"/>
              <a:gd name="connsiteY3" fmla="*/ 6862792 h 6862792"/>
              <a:gd name="connsiteX4" fmla="*/ 0 w 8993100"/>
              <a:gd name="connsiteY4" fmla="*/ 5124508 h 6862792"/>
              <a:gd name="connsiteX5" fmla="*/ 2083733 w 8993100"/>
              <a:gd name="connsiteY5" fmla="*/ 0 h 6862792"/>
              <a:gd name="connsiteX0" fmla="*/ 2083733 w 8993100"/>
              <a:gd name="connsiteY0" fmla="*/ 0 h 6862792"/>
              <a:gd name="connsiteX1" fmla="*/ 8993100 w 8993100"/>
              <a:gd name="connsiteY1" fmla="*/ 1424 h 6862792"/>
              <a:gd name="connsiteX2" fmla="*/ 3388908 w 8993100"/>
              <a:gd name="connsiteY2" fmla="*/ 6857907 h 6862792"/>
              <a:gd name="connsiteX3" fmla="*/ 9413 w 8993100"/>
              <a:gd name="connsiteY3" fmla="*/ 6862792 h 6862792"/>
              <a:gd name="connsiteX4" fmla="*/ 0 w 8993100"/>
              <a:gd name="connsiteY4" fmla="*/ 5124508 h 6862792"/>
              <a:gd name="connsiteX5" fmla="*/ 2083733 w 8993100"/>
              <a:gd name="connsiteY5" fmla="*/ 0 h 6862792"/>
              <a:gd name="connsiteX0" fmla="*/ 2083733 w 8993100"/>
              <a:gd name="connsiteY0" fmla="*/ 0 h 6862792"/>
              <a:gd name="connsiteX1" fmla="*/ 8993100 w 8993100"/>
              <a:gd name="connsiteY1" fmla="*/ 1424 h 6862792"/>
              <a:gd name="connsiteX2" fmla="*/ 3388908 w 8993100"/>
              <a:gd name="connsiteY2" fmla="*/ 6857907 h 6862792"/>
              <a:gd name="connsiteX3" fmla="*/ 9413 w 8993100"/>
              <a:gd name="connsiteY3" fmla="*/ 6862792 h 6862792"/>
              <a:gd name="connsiteX4" fmla="*/ 0 w 8993100"/>
              <a:gd name="connsiteY4" fmla="*/ 5124508 h 6862792"/>
              <a:gd name="connsiteX5" fmla="*/ 2083733 w 8993100"/>
              <a:gd name="connsiteY5" fmla="*/ 0 h 6862792"/>
              <a:gd name="connsiteX0" fmla="*/ 2083733 w 8993100"/>
              <a:gd name="connsiteY0" fmla="*/ 0 h 6857907"/>
              <a:gd name="connsiteX1" fmla="*/ 8993100 w 8993100"/>
              <a:gd name="connsiteY1" fmla="*/ 1424 h 6857907"/>
              <a:gd name="connsiteX2" fmla="*/ 3388908 w 8993100"/>
              <a:gd name="connsiteY2" fmla="*/ 6857907 h 6857907"/>
              <a:gd name="connsiteX3" fmla="*/ 99290 w 8993100"/>
              <a:gd name="connsiteY3" fmla="*/ 6851069 h 6857907"/>
              <a:gd name="connsiteX4" fmla="*/ 0 w 8993100"/>
              <a:gd name="connsiteY4" fmla="*/ 5124508 h 6857907"/>
              <a:gd name="connsiteX5" fmla="*/ 2083733 w 8993100"/>
              <a:gd name="connsiteY5" fmla="*/ 0 h 6857907"/>
              <a:gd name="connsiteX0" fmla="*/ 2083733 w 8993100"/>
              <a:gd name="connsiteY0" fmla="*/ 0 h 6862792"/>
              <a:gd name="connsiteX1" fmla="*/ 8993100 w 8993100"/>
              <a:gd name="connsiteY1" fmla="*/ 1424 h 6862792"/>
              <a:gd name="connsiteX2" fmla="*/ 3388908 w 8993100"/>
              <a:gd name="connsiteY2" fmla="*/ 6857907 h 6862792"/>
              <a:gd name="connsiteX3" fmla="*/ 5505 w 8993100"/>
              <a:gd name="connsiteY3" fmla="*/ 6862792 h 6862792"/>
              <a:gd name="connsiteX4" fmla="*/ 0 w 8993100"/>
              <a:gd name="connsiteY4" fmla="*/ 5124508 h 6862792"/>
              <a:gd name="connsiteX5" fmla="*/ 2083733 w 8993100"/>
              <a:gd name="connsiteY5" fmla="*/ 0 h 6862792"/>
              <a:gd name="connsiteX0" fmla="*/ 2083733 w 8993100"/>
              <a:gd name="connsiteY0" fmla="*/ 0 h 6867554"/>
              <a:gd name="connsiteX1" fmla="*/ 8993100 w 8993100"/>
              <a:gd name="connsiteY1" fmla="*/ 6186 h 6867554"/>
              <a:gd name="connsiteX2" fmla="*/ 3388908 w 8993100"/>
              <a:gd name="connsiteY2" fmla="*/ 6862669 h 6867554"/>
              <a:gd name="connsiteX3" fmla="*/ 5505 w 8993100"/>
              <a:gd name="connsiteY3" fmla="*/ 6867554 h 6867554"/>
              <a:gd name="connsiteX4" fmla="*/ 0 w 8993100"/>
              <a:gd name="connsiteY4" fmla="*/ 5129270 h 6867554"/>
              <a:gd name="connsiteX5" fmla="*/ 2083733 w 8993100"/>
              <a:gd name="connsiteY5" fmla="*/ 0 h 6867554"/>
              <a:gd name="connsiteX0" fmla="*/ 2083733 w 8791676"/>
              <a:gd name="connsiteY0" fmla="*/ 0 h 6867554"/>
              <a:gd name="connsiteX1" fmla="*/ 8791676 w 8791676"/>
              <a:gd name="connsiteY1" fmla="*/ 22172 h 6867554"/>
              <a:gd name="connsiteX2" fmla="*/ 3388908 w 8791676"/>
              <a:gd name="connsiteY2" fmla="*/ 6862669 h 6867554"/>
              <a:gd name="connsiteX3" fmla="*/ 5505 w 8791676"/>
              <a:gd name="connsiteY3" fmla="*/ 6867554 h 6867554"/>
              <a:gd name="connsiteX4" fmla="*/ 0 w 8791676"/>
              <a:gd name="connsiteY4" fmla="*/ 5129270 h 6867554"/>
              <a:gd name="connsiteX5" fmla="*/ 2083733 w 8791676"/>
              <a:gd name="connsiteY5" fmla="*/ 0 h 6867554"/>
              <a:gd name="connsiteX0" fmla="*/ 2083733 w 8948339"/>
              <a:gd name="connsiteY0" fmla="*/ 208 h 6867762"/>
              <a:gd name="connsiteX1" fmla="*/ 8948339 w 8948339"/>
              <a:gd name="connsiteY1" fmla="*/ 0 h 6867762"/>
              <a:gd name="connsiteX2" fmla="*/ 3388908 w 8948339"/>
              <a:gd name="connsiteY2" fmla="*/ 6862877 h 6867762"/>
              <a:gd name="connsiteX3" fmla="*/ 5505 w 8948339"/>
              <a:gd name="connsiteY3" fmla="*/ 6867762 h 6867762"/>
              <a:gd name="connsiteX4" fmla="*/ 0 w 8948339"/>
              <a:gd name="connsiteY4" fmla="*/ 5129478 h 6867762"/>
              <a:gd name="connsiteX5" fmla="*/ 2083733 w 8948339"/>
              <a:gd name="connsiteY5" fmla="*/ 208 h 68677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948339" h="6867762">
                <a:moveTo>
                  <a:pt x="2083733" y="208"/>
                </a:moveTo>
                <a:lnTo>
                  <a:pt x="8948339" y="0"/>
                </a:lnTo>
                <a:lnTo>
                  <a:pt x="3388908" y="6862877"/>
                </a:lnTo>
                <a:lnTo>
                  <a:pt x="5505" y="6867762"/>
                </a:lnTo>
                <a:cubicBezTo>
                  <a:pt x="5505" y="6488575"/>
                  <a:pt x="0" y="5508665"/>
                  <a:pt x="0" y="5129478"/>
                </a:cubicBezTo>
                <a:lnTo>
                  <a:pt x="2083733" y="208"/>
                </a:lnTo>
                <a:close/>
              </a:path>
            </a:pathLst>
          </a:custGeom>
          <a:gradFill>
            <a:gsLst>
              <a:gs pos="0">
                <a:srgbClr val="648C1A"/>
              </a:gs>
              <a:gs pos="100000">
                <a:schemeClr val="accent2"/>
              </a:gs>
            </a:gsLst>
            <a:lin ang="108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1866737" y="3588760"/>
            <a:ext cx="6604000" cy="0"/>
          </a:xfrm>
          <a:prstGeom prst="line">
            <a:avLst/>
          </a:prstGeom>
          <a:ln w="12700" cmpd="sng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19"/>
          <p:cNvSpPr>
            <a:spLocks noGrp="1"/>
          </p:cNvSpPr>
          <p:nvPr>
            <p:ph type="body" sz="quarter" idx="18" hasCustomPrompt="1"/>
          </p:nvPr>
        </p:nvSpPr>
        <p:spPr>
          <a:xfrm>
            <a:off x="1866739" y="3692359"/>
            <a:ext cx="5576799" cy="343400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FontTx/>
              <a:buNone/>
              <a:defRPr sz="1600" cap="all"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en-US" sz="1600" dirty="0"/>
              <a:t>Click to edit SUB TITLE</a:t>
            </a:r>
          </a:p>
        </p:txBody>
      </p:sp>
      <p:sp>
        <p:nvSpPr>
          <p:cNvPr id="13" name="Text Placeholder 23"/>
          <p:cNvSpPr>
            <a:spLocks noGrp="1"/>
          </p:cNvSpPr>
          <p:nvPr>
            <p:ph type="body" sz="quarter" idx="19"/>
          </p:nvPr>
        </p:nvSpPr>
        <p:spPr>
          <a:xfrm>
            <a:off x="1866740" y="3059449"/>
            <a:ext cx="6154313" cy="452437"/>
          </a:xfrm>
          <a:prstGeom prst="rect">
            <a:avLst/>
          </a:prstGeom>
        </p:spPr>
        <p:txBody>
          <a:bodyPr vert="horz" lIns="0" rIns="0" bIns="0" anchor="b"/>
          <a:lstStyle>
            <a:lvl1pPr marL="0" indent="0">
              <a:buFontTx/>
              <a:buNone/>
              <a:defRPr sz="2500" cap="all" baseline="0">
                <a:solidFill>
                  <a:schemeClr val="accent1"/>
                </a:solidFill>
                <a:latin typeface="+mj-lt"/>
              </a:defRPr>
            </a:lvl1pPr>
            <a:lvl2pPr marL="457178" indent="0">
              <a:buFontTx/>
              <a:buNone/>
              <a:defRPr sz="2400" cap="all" baseline="0">
                <a:solidFill>
                  <a:schemeClr val="bg1"/>
                </a:solidFill>
              </a:defRPr>
            </a:lvl2pPr>
            <a:lvl3pPr marL="914354" indent="0">
              <a:buFontTx/>
              <a:buNone/>
              <a:defRPr sz="2400" cap="all" baseline="0">
                <a:solidFill>
                  <a:schemeClr val="bg1"/>
                </a:solidFill>
              </a:defRPr>
            </a:lvl3pPr>
            <a:lvl4pPr marL="1371532" indent="0">
              <a:buFontTx/>
              <a:buNone/>
              <a:defRPr sz="2400" cap="all" baseline="0">
                <a:solidFill>
                  <a:schemeClr val="bg1"/>
                </a:solidFill>
              </a:defRPr>
            </a:lvl4pPr>
            <a:lvl5pPr marL="1828709" indent="0">
              <a:buFontTx/>
              <a:buNone/>
              <a:defRPr sz="2400" cap="all" baseline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5" name="Freeform 14"/>
          <p:cNvSpPr/>
          <p:nvPr userDrawn="1"/>
        </p:nvSpPr>
        <p:spPr>
          <a:xfrm>
            <a:off x="-8596" y="-3908"/>
            <a:ext cx="2781343" cy="5136220"/>
          </a:xfrm>
          <a:custGeom>
            <a:avLst/>
            <a:gdLst>
              <a:gd name="connsiteX0" fmla="*/ 0 w 1661746"/>
              <a:gd name="connsiteY0" fmla="*/ 0 h 4044462"/>
              <a:gd name="connsiteX1" fmla="*/ 1661746 w 1661746"/>
              <a:gd name="connsiteY1" fmla="*/ 0 h 4044462"/>
              <a:gd name="connsiteX2" fmla="*/ 17585 w 1661746"/>
              <a:gd name="connsiteY2" fmla="*/ 4044462 h 4044462"/>
              <a:gd name="connsiteX3" fmla="*/ 0 w 1661746"/>
              <a:gd name="connsiteY3" fmla="*/ 0 h 4044462"/>
              <a:gd name="connsiteX0" fmla="*/ 0 w 1661746"/>
              <a:gd name="connsiteY0" fmla="*/ 0 h 4039867"/>
              <a:gd name="connsiteX1" fmla="*/ 1661746 w 1661746"/>
              <a:gd name="connsiteY1" fmla="*/ 0 h 4039867"/>
              <a:gd name="connsiteX2" fmla="*/ 12990 w 1661746"/>
              <a:gd name="connsiteY2" fmla="*/ 4039867 h 4039867"/>
              <a:gd name="connsiteX3" fmla="*/ 0 w 1661746"/>
              <a:gd name="connsiteY3" fmla="*/ 0 h 4039867"/>
              <a:gd name="connsiteX0" fmla="*/ 170948 w 1648895"/>
              <a:gd name="connsiteY0" fmla="*/ 284889 h 4039867"/>
              <a:gd name="connsiteX1" fmla="*/ 1648895 w 1648895"/>
              <a:gd name="connsiteY1" fmla="*/ 0 h 4039867"/>
              <a:gd name="connsiteX2" fmla="*/ 139 w 1648895"/>
              <a:gd name="connsiteY2" fmla="*/ 4039867 h 4039867"/>
              <a:gd name="connsiteX3" fmla="*/ 170948 w 1648895"/>
              <a:gd name="connsiteY3" fmla="*/ 284889 h 4039867"/>
              <a:gd name="connsiteX0" fmla="*/ 170948 w 1653490"/>
              <a:gd name="connsiteY0" fmla="*/ 225154 h 3980132"/>
              <a:gd name="connsiteX1" fmla="*/ 1653490 w 1653490"/>
              <a:gd name="connsiteY1" fmla="*/ 0 h 3980132"/>
              <a:gd name="connsiteX2" fmla="*/ 139 w 1653490"/>
              <a:gd name="connsiteY2" fmla="*/ 3980132 h 3980132"/>
              <a:gd name="connsiteX3" fmla="*/ 170948 w 1653490"/>
              <a:gd name="connsiteY3" fmla="*/ 225154 h 3980132"/>
              <a:gd name="connsiteX0" fmla="*/ 170948 w 1658085"/>
              <a:gd name="connsiteY0" fmla="*/ 284889 h 4039867"/>
              <a:gd name="connsiteX1" fmla="*/ 1658085 w 1658085"/>
              <a:gd name="connsiteY1" fmla="*/ 0 h 4039867"/>
              <a:gd name="connsiteX2" fmla="*/ 139 w 1658085"/>
              <a:gd name="connsiteY2" fmla="*/ 4039867 h 4039867"/>
              <a:gd name="connsiteX3" fmla="*/ 170948 w 1658085"/>
              <a:gd name="connsiteY3" fmla="*/ 284889 h 4039867"/>
              <a:gd name="connsiteX0" fmla="*/ 0 w 1666341"/>
              <a:gd name="connsiteY0" fmla="*/ 4595 h 4039867"/>
              <a:gd name="connsiteX1" fmla="*/ 1666341 w 1666341"/>
              <a:gd name="connsiteY1" fmla="*/ 0 h 4039867"/>
              <a:gd name="connsiteX2" fmla="*/ 8395 w 1666341"/>
              <a:gd name="connsiteY2" fmla="*/ 4039867 h 4039867"/>
              <a:gd name="connsiteX3" fmla="*/ 0 w 1666341"/>
              <a:gd name="connsiteY3" fmla="*/ 4595 h 4039867"/>
              <a:gd name="connsiteX0" fmla="*/ 0 w 1666341"/>
              <a:gd name="connsiteY0" fmla="*/ 4595 h 4035272"/>
              <a:gd name="connsiteX1" fmla="*/ 1666341 w 1666341"/>
              <a:gd name="connsiteY1" fmla="*/ 0 h 4035272"/>
              <a:gd name="connsiteX2" fmla="*/ 8395 w 1666341"/>
              <a:gd name="connsiteY2" fmla="*/ 4035272 h 4035272"/>
              <a:gd name="connsiteX3" fmla="*/ 0 w 1666341"/>
              <a:gd name="connsiteY3" fmla="*/ 4595 h 4035272"/>
              <a:gd name="connsiteX0" fmla="*/ 56296 w 1658307"/>
              <a:gd name="connsiteY0" fmla="*/ 114874 h 4035272"/>
              <a:gd name="connsiteX1" fmla="*/ 1658307 w 1658307"/>
              <a:gd name="connsiteY1" fmla="*/ 0 h 4035272"/>
              <a:gd name="connsiteX2" fmla="*/ 361 w 1658307"/>
              <a:gd name="connsiteY2" fmla="*/ 4035272 h 4035272"/>
              <a:gd name="connsiteX3" fmla="*/ 56296 w 1658307"/>
              <a:gd name="connsiteY3" fmla="*/ 114874 h 4035272"/>
              <a:gd name="connsiteX0" fmla="*/ 2400 w 1659551"/>
              <a:gd name="connsiteY0" fmla="*/ 9190 h 4035272"/>
              <a:gd name="connsiteX1" fmla="*/ 1659551 w 1659551"/>
              <a:gd name="connsiteY1" fmla="*/ 0 h 4035272"/>
              <a:gd name="connsiteX2" fmla="*/ 1605 w 1659551"/>
              <a:gd name="connsiteY2" fmla="*/ 4035272 h 4035272"/>
              <a:gd name="connsiteX3" fmla="*/ 2400 w 1659551"/>
              <a:gd name="connsiteY3" fmla="*/ 9190 h 4035272"/>
              <a:gd name="connsiteX0" fmla="*/ 146 w 1659873"/>
              <a:gd name="connsiteY0" fmla="*/ 6614 h 4035272"/>
              <a:gd name="connsiteX1" fmla="*/ 1659873 w 1659873"/>
              <a:gd name="connsiteY1" fmla="*/ 0 h 4035272"/>
              <a:gd name="connsiteX2" fmla="*/ 1927 w 1659873"/>
              <a:gd name="connsiteY2" fmla="*/ 4035272 h 4035272"/>
              <a:gd name="connsiteX3" fmla="*/ 146 w 1659873"/>
              <a:gd name="connsiteY3" fmla="*/ 6614 h 4035272"/>
              <a:gd name="connsiteX0" fmla="*/ 146 w 1649570"/>
              <a:gd name="connsiteY0" fmla="*/ 0 h 4028658"/>
              <a:gd name="connsiteX1" fmla="*/ 1649570 w 1649570"/>
              <a:gd name="connsiteY1" fmla="*/ 11416 h 4028658"/>
              <a:gd name="connsiteX2" fmla="*/ 1927 w 1649570"/>
              <a:gd name="connsiteY2" fmla="*/ 4028658 h 4028658"/>
              <a:gd name="connsiteX3" fmla="*/ 146 w 1649570"/>
              <a:gd name="connsiteY3" fmla="*/ 0 h 4028658"/>
              <a:gd name="connsiteX0" fmla="*/ 57814 w 1647996"/>
              <a:gd name="connsiteY0" fmla="*/ 109645 h 4017242"/>
              <a:gd name="connsiteX1" fmla="*/ 1647996 w 1647996"/>
              <a:gd name="connsiteY1" fmla="*/ 0 h 4017242"/>
              <a:gd name="connsiteX2" fmla="*/ 353 w 1647996"/>
              <a:gd name="connsiteY2" fmla="*/ 4017242 h 4017242"/>
              <a:gd name="connsiteX3" fmla="*/ 57814 w 1647996"/>
              <a:gd name="connsiteY3" fmla="*/ 109645 h 4017242"/>
              <a:gd name="connsiteX0" fmla="*/ 52689 w 1648022"/>
              <a:gd name="connsiteY0" fmla="*/ 65857 h 4017242"/>
              <a:gd name="connsiteX1" fmla="*/ 1648022 w 1648022"/>
              <a:gd name="connsiteY1" fmla="*/ 0 h 4017242"/>
              <a:gd name="connsiteX2" fmla="*/ 379 w 1648022"/>
              <a:gd name="connsiteY2" fmla="*/ 4017242 h 4017242"/>
              <a:gd name="connsiteX3" fmla="*/ 52689 w 1648022"/>
              <a:gd name="connsiteY3" fmla="*/ 65857 h 4017242"/>
              <a:gd name="connsiteX0" fmla="*/ 9598 w 1648720"/>
              <a:gd name="connsiteY0" fmla="*/ 0 h 4020931"/>
              <a:gd name="connsiteX1" fmla="*/ 1648720 w 1648720"/>
              <a:gd name="connsiteY1" fmla="*/ 3689 h 4020931"/>
              <a:gd name="connsiteX2" fmla="*/ 1077 w 1648720"/>
              <a:gd name="connsiteY2" fmla="*/ 4020931 h 4020931"/>
              <a:gd name="connsiteX3" fmla="*/ 9598 w 1648720"/>
              <a:gd name="connsiteY3" fmla="*/ 0 h 4020931"/>
              <a:gd name="connsiteX0" fmla="*/ 12067 w 1651189"/>
              <a:gd name="connsiteY0" fmla="*/ 0 h 4023507"/>
              <a:gd name="connsiteX1" fmla="*/ 1651189 w 1651189"/>
              <a:gd name="connsiteY1" fmla="*/ 3689 h 4023507"/>
              <a:gd name="connsiteX2" fmla="*/ 971 w 1651189"/>
              <a:gd name="connsiteY2" fmla="*/ 4023507 h 4023507"/>
              <a:gd name="connsiteX3" fmla="*/ 12067 w 1651189"/>
              <a:gd name="connsiteY3" fmla="*/ 0 h 4023507"/>
              <a:gd name="connsiteX0" fmla="*/ 0 w 1639122"/>
              <a:gd name="connsiteY0" fmla="*/ 0 h 4023507"/>
              <a:gd name="connsiteX1" fmla="*/ 1639122 w 1639122"/>
              <a:gd name="connsiteY1" fmla="*/ 3689 h 4023507"/>
              <a:gd name="connsiteX2" fmla="*/ 6935 w 1639122"/>
              <a:gd name="connsiteY2" fmla="*/ 4023507 h 4023507"/>
              <a:gd name="connsiteX3" fmla="*/ 0 w 1639122"/>
              <a:gd name="connsiteY3" fmla="*/ 0 h 4023507"/>
              <a:gd name="connsiteX0" fmla="*/ 17059 w 1656181"/>
              <a:gd name="connsiteY0" fmla="*/ 0 h 4015780"/>
              <a:gd name="connsiteX1" fmla="*/ 1656181 w 1656181"/>
              <a:gd name="connsiteY1" fmla="*/ 3689 h 4015780"/>
              <a:gd name="connsiteX2" fmla="*/ 812 w 1656181"/>
              <a:gd name="connsiteY2" fmla="*/ 4015780 h 4015780"/>
              <a:gd name="connsiteX3" fmla="*/ 17059 w 1656181"/>
              <a:gd name="connsiteY3" fmla="*/ 0 h 4015780"/>
              <a:gd name="connsiteX0" fmla="*/ 0 w 1639122"/>
              <a:gd name="connsiteY0" fmla="*/ 0 h 3899870"/>
              <a:gd name="connsiteX1" fmla="*/ 1639122 w 1639122"/>
              <a:gd name="connsiteY1" fmla="*/ 3689 h 3899870"/>
              <a:gd name="connsiteX2" fmla="*/ 73905 w 1639122"/>
              <a:gd name="connsiteY2" fmla="*/ 3899870 h 3899870"/>
              <a:gd name="connsiteX3" fmla="*/ 0 w 1639122"/>
              <a:gd name="connsiteY3" fmla="*/ 0 h 3899870"/>
              <a:gd name="connsiteX0" fmla="*/ 0 w 1639122"/>
              <a:gd name="connsiteY0" fmla="*/ 0 h 3987447"/>
              <a:gd name="connsiteX1" fmla="*/ 1639122 w 1639122"/>
              <a:gd name="connsiteY1" fmla="*/ 3689 h 3987447"/>
              <a:gd name="connsiteX2" fmla="*/ 6935 w 1639122"/>
              <a:gd name="connsiteY2" fmla="*/ 3987447 h 3987447"/>
              <a:gd name="connsiteX3" fmla="*/ 0 w 1639122"/>
              <a:gd name="connsiteY3" fmla="*/ 0 h 3987447"/>
              <a:gd name="connsiteX0" fmla="*/ 144 w 1639266"/>
              <a:gd name="connsiteY0" fmla="*/ 0 h 3987447"/>
              <a:gd name="connsiteX1" fmla="*/ 1639266 w 1639266"/>
              <a:gd name="connsiteY1" fmla="*/ 3689 h 3987447"/>
              <a:gd name="connsiteX2" fmla="*/ 1927 w 1639266"/>
              <a:gd name="connsiteY2" fmla="*/ 3987447 h 3987447"/>
              <a:gd name="connsiteX3" fmla="*/ 144 w 1639266"/>
              <a:gd name="connsiteY3" fmla="*/ 0 h 3987447"/>
              <a:gd name="connsiteX0" fmla="*/ 2397 w 1641519"/>
              <a:gd name="connsiteY0" fmla="*/ 0 h 3995174"/>
              <a:gd name="connsiteX1" fmla="*/ 1641519 w 1641519"/>
              <a:gd name="connsiteY1" fmla="*/ 3689 h 3995174"/>
              <a:gd name="connsiteX2" fmla="*/ 1605 w 1641519"/>
              <a:gd name="connsiteY2" fmla="*/ 3995174 h 3995174"/>
              <a:gd name="connsiteX3" fmla="*/ 2397 w 1641519"/>
              <a:gd name="connsiteY3" fmla="*/ 0 h 3995174"/>
              <a:gd name="connsiteX0" fmla="*/ 9681 w 1648803"/>
              <a:gd name="connsiteY0" fmla="*/ 0 h 5116681"/>
              <a:gd name="connsiteX1" fmla="*/ 1648803 w 1648803"/>
              <a:gd name="connsiteY1" fmla="*/ 3689 h 5116681"/>
              <a:gd name="connsiteX2" fmla="*/ 1073 w 1648803"/>
              <a:gd name="connsiteY2" fmla="*/ 5116681 h 5116681"/>
              <a:gd name="connsiteX3" fmla="*/ 9681 w 1648803"/>
              <a:gd name="connsiteY3" fmla="*/ 0 h 5116681"/>
              <a:gd name="connsiteX0" fmla="*/ 9681 w 2078650"/>
              <a:gd name="connsiteY0" fmla="*/ 0 h 5116681"/>
              <a:gd name="connsiteX1" fmla="*/ 2078650 w 2078650"/>
              <a:gd name="connsiteY1" fmla="*/ 3689 h 5116681"/>
              <a:gd name="connsiteX2" fmla="*/ 1073 w 2078650"/>
              <a:gd name="connsiteY2" fmla="*/ 5116681 h 5116681"/>
              <a:gd name="connsiteX3" fmla="*/ 9681 w 2078650"/>
              <a:gd name="connsiteY3" fmla="*/ 0 h 5116681"/>
              <a:gd name="connsiteX0" fmla="*/ 5986 w 2078862"/>
              <a:gd name="connsiteY0" fmla="*/ 0 h 5120589"/>
              <a:gd name="connsiteX1" fmla="*/ 2078862 w 2078862"/>
              <a:gd name="connsiteY1" fmla="*/ 7597 h 5120589"/>
              <a:gd name="connsiteX2" fmla="*/ 1285 w 2078862"/>
              <a:gd name="connsiteY2" fmla="*/ 5120589 h 5120589"/>
              <a:gd name="connsiteX3" fmla="*/ 5986 w 2078862"/>
              <a:gd name="connsiteY3" fmla="*/ 0 h 5120589"/>
              <a:gd name="connsiteX0" fmla="*/ 2400 w 2075276"/>
              <a:gd name="connsiteY0" fmla="*/ 0 h 5108866"/>
              <a:gd name="connsiteX1" fmla="*/ 2075276 w 2075276"/>
              <a:gd name="connsiteY1" fmla="*/ 7597 h 5108866"/>
              <a:gd name="connsiteX2" fmla="*/ 1606 w 2075276"/>
              <a:gd name="connsiteY2" fmla="*/ 5108866 h 5108866"/>
              <a:gd name="connsiteX3" fmla="*/ 2400 w 2075276"/>
              <a:gd name="connsiteY3" fmla="*/ 0 h 5108866"/>
              <a:gd name="connsiteX0" fmla="*/ 5987 w 2078863"/>
              <a:gd name="connsiteY0" fmla="*/ 0 h 5136220"/>
              <a:gd name="connsiteX1" fmla="*/ 2078863 w 2078863"/>
              <a:gd name="connsiteY1" fmla="*/ 7597 h 5136220"/>
              <a:gd name="connsiteX2" fmla="*/ 1285 w 2078863"/>
              <a:gd name="connsiteY2" fmla="*/ 5136220 h 5136220"/>
              <a:gd name="connsiteX3" fmla="*/ 5987 w 2078863"/>
              <a:gd name="connsiteY3" fmla="*/ 0 h 5136220"/>
              <a:gd name="connsiteX0" fmla="*/ 5987 w 2086007"/>
              <a:gd name="connsiteY0" fmla="*/ 0 h 5136220"/>
              <a:gd name="connsiteX1" fmla="*/ 2086007 w 2086007"/>
              <a:gd name="connsiteY1" fmla="*/ 2835 h 5136220"/>
              <a:gd name="connsiteX2" fmla="*/ 1285 w 2086007"/>
              <a:gd name="connsiteY2" fmla="*/ 5136220 h 5136220"/>
              <a:gd name="connsiteX3" fmla="*/ 5987 w 2086007"/>
              <a:gd name="connsiteY3" fmla="*/ 0 h 51362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086007" h="5136220">
                <a:moveTo>
                  <a:pt x="5987" y="0"/>
                </a:moveTo>
                <a:lnTo>
                  <a:pt x="2086007" y="2835"/>
                </a:lnTo>
                <a:cubicBezTo>
                  <a:pt x="1539369" y="1333330"/>
                  <a:pt x="547923" y="3805725"/>
                  <a:pt x="1285" y="5136220"/>
                </a:cubicBezTo>
                <a:cubicBezTo>
                  <a:pt x="-4577" y="3790997"/>
                  <a:pt x="11849" y="1354016"/>
                  <a:pt x="5987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64139" y="5666597"/>
            <a:ext cx="3174831" cy="874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18441078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text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Right Bottom"/>
          <p:cNvSpPr>
            <a:spLocks noGrp="1"/>
          </p:cNvSpPr>
          <p:nvPr>
            <p:ph idx="27"/>
          </p:nvPr>
        </p:nvSpPr>
        <p:spPr bwMode="gray">
          <a:xfrm>
            <a:off x="6393053" y="3842316"/>
            <a:ext cx="5520000" cy="2326843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US" altLang="ja-JP" sz="1000" smtClean="0">
                <a:latin typeface="+mn-lt"/>
                <a:ea typeface="+mn-ea"/>
                <a:sym typeface="+mn-lt"/>
              </a:defRPr>
            </a:lvl1pPr>
            <a:lvl2pPr>
              <a:defRPr lang="en-US" altLang="ja-JP" sz="1000" smtClean="0">
                <a:latin typeface="+mn-lt"/>
                <a:ea typeface="+mn-ea"/>
                <a:sym typeface="+mn-lt"/>
              </a:defRPr>
            </a:lvl2pPr>
            <a:lvl3pPr>
              <a:defRPr lang="en-US" altLang="ja-JP" sz="1000" smtClean="0">
                <a:latin typeface="+mn-lt"/>
                <a:ea typeface="+mn-ea"/>
                <a:sym typeface="+mn-lt"/>
              </a:defRPr>
            </a:lvl3pPr>
            <a:lvl4pPr>
              <a:defRPr lang="en-US" altLang="ja-JP" sz="1000" smtClean="0">
                <a:latin typeface="+mn-lt"/>
                <a:ea typeface="+mn-ea"/>
                <a:sym typeface="+mn-lt"/>
              </a:defRPr>
            </a:lvl4pPr>
            <a:lvl5pPr>
              <a:defRPr lang="en-GB" sz="1000" dirty="0" smtClean="0">
                <a:latin typeface="+mn-lt"/>
                <a:ea typeface="+mn-ea"/>
                <a:sym typeface="+mn-lt"/>
              </a:defRPr>
            </a:lvl5pPr>
          </a:lstStyle>
          <a:p>
            <a:pPr lvl="0">
              <a:lnSpc>
                <a:spcPct val="100000"/>
              </a:lnSpc>
            </a:pPr>
            <a:r>
              <a:rPr lang="en-US" altLang="ja-JP"/>
              <a:t>Click to edit Master text styles</a:t>
            </a:r>
          </a:p>
          <a:p>
            <a:pPr lvl="1">
              <a:lnSpc>
                <a:spcPct val="100000"/>
              </a:lnSpc>
            </a:pPr>
            <a:r>
              <a:rPr lang="en-US" altLang="ja-JP"/>
              <a:t>Second level</a:t>
            </a:r>
          </a:p>
          <a:p>
            <a:pPr lvl="2">
              <a:lnSpc>
                <a:spcPct val="100000"/>
              </a:lnSpc>
            </a:pPr>
            <a:r>
              <a:rPr lang="en-US" altLang="ja-JP"/>
              <a:t>Third level</a:t>
            </a:r>
          </a:p>
          <a:p>
            <a:pPr lvl="3">
              <a:lnSpc>
                <a:spcPct val="100000"/>
              </a:lnSpc>
            </a:pPr>
            <a:r>
              <a:rPr lang="en-US" altLang="ja-JP"/>
              <a:t>Fourth level</a:t>
            </a:r>
          </a:p>
          <a:p>
            <a:pPr lvl="4">
              <a:lnSpc>
                <a:spcPct val="100000"/>
              </a:lnSpc>
            </a:pPr>
            <a:r>
              <a:rPr lang="en-US" altLang="ja-JP"/>
              <a:t>Fifth level</a:t>
            </a:r>
            <a:endParaRPr lang="en-GB" dirty="0"/>
          </a:p>
        </p:txBody>
      </p:sp>
      <p:sp>
        <p:nvSpPr>
          <p:cNvPr id="4" name="Content Left Bottom"/>
          <p:cNvSpPr>
            <a:spLocks noGrp="1"/>
          </p:cNvSpPr>
          <p:nvPr>
            <p:ph idx="28"/>
          </p:nvPr>
        </p:nvSpPr>
        <p:spPr bwMode="gray">
          <a:xfrm>
            <a:off x="287455" y="3842316"/>
            <a:ext cx="5520000" cy="2326843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US" altLang="ja-JP" sz="1000" smtClean="0">
                <a:latin typeface="+mn-lt"/>
                <a:ea typeface="+mn-ea"/>
                <a:sym typeface="+mn-lt"/>
              </a:defRPr>
            </a:lvl1pPr>
            <a:lvl2pPr>
              <a:defRPr lang="en-US" altLang="ja-JP" sz="1000" smtClean="0">
                <a:latin typeface="+mn-lt"/>
                <a:ea typeface="+mn-ea"/>
                <a:sym typeface="+mn-lt"/>
              </a:defRPr>
            </a:lvl2pPr>
            <a:lvl3pPr>
              <a:defRPr lang="en-US" altLang="ja-JP" sz="1000" smtClean="0">
                <a:latin typeface="+mn-lt"/>
                <a:ea typeface="+mn-ea"/>
                <a:sym typeface="+mn-lt"/>
              </a:defRPr>
            </a:lvl3pPr>
            <a:lvl4pPr>
              <a:defRPr lang="en-US" altLang="ja-JP" sz="1000" smtClean="0">
                <a:latin typeface="+mn-lt"/>
                <a:ea typeface="+mn-ea"/>
                <a:sym typeface="+mn-lt"/>
              </a:defRPr>
            </a:lvl4pPr>
            <a:lvl5pPr>
              <a:defRPr lang="en-GB" sz="1000" dirty="0" smtClean="0">
                <a:latin typeface="+mn-lt"/>
                <a:ea typeface="+mn-ea"/>
                <a:sym typeface="+mn-lt"/>
              </a:defRPr>
            </a:lvl5pPr>
          </a:lstStyle>
          <a:p>
            <a:pPr lvl="0">
              <a:lnSpc>
                <a:spcPct val="100000"/>
              </a:lnSpc>
            </a:pPr>
            <a:r>
              <a:rPr lang="en-US" altLang="ja-JP"/>
              <a:t>Click to edit Master text styles</a:t>
            </a:r>
          </a:p>
          <a:p>
            <a:pPr lvl="1">
              <a:lnSpc>
                <a:spcPct val="100000"/>
              </a:lnSpc>
            </a:pPr>
            <a:r>
              <a:rPr lang="en-US" altLang="ja-JP"/>
              <a:t>Second level</a:t>
            </a:r>
          </a:p>
          <a:p>
            <a:pPr lvl="2">
              <a:lnSpc>
                <a:spcPct val="100000"/>
              </a:lnSpc>
            </a:pPr>
            <a:r>
              <a:rPr lang="en-US" altLang="ja-JP"/>
              <a:t>Third level</a:t>
            </a:r>
          </a:p>
          <a:p>
            <a:pPr lvl="3">
              <a:lnSpc>
                <a:spcPct val="100000"/>
              </a:lnSpc>
            </a:pPr>
            <a:r>
              <a:rPr lang="en-US" altLang="ja-JP"/>
              <a:t>Fourth level</a:t>
            </a:r>
          </a:p>
          <a:p>
            <a:pPr lvl="4">
              <a:lnSpc>
                <a:spcPct val="100000"/>
              </a:lnSpc>
            </a:pPr>
            <a:r>
              <a:rPr lang="en-US" altLang="ja-JP"/>
              <a:t>Fifth level</a:t>
            </a:r>
            <a:endParaRPr lang="en-GB" dirty="0"/>
          </a:p>
        </p:txBody>
      </p:sp>
      <p:sp>
        <p:nvSpPr>
          <p:cNvPr id="8" name="Content Right Top"/>
          <p:cNvSpPr>
            <a:spLocks noGrp="1"/>
          </p:cNvSpPr>
          <p:nvPr>
            <p:ph idx="26"/>
          </p:nvPr>
        </p:nvSpPr>
        <p:spPr bwMode="gray">
          <a:xfrm>
            <a:off x="6393053" y="1341114"/>
            <a:ext cx="5520000" cy="2325600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US" altLang="ja-JP" sz="1000" smtClean="0">
                <a:latin typeface="+mn-lt"/>
                <a:ea typeface="+mn-ea"/>
                <a:sym typeface="+mn-lt"/>
              </a:defRPr>
            </a:lvl1pPr>
            <a:lvl2pPr>
              <a:defRPr lang="en-US" altLang="ja-JP" sz="1000" smtClean="0">
                <a:latin typeface="+mn-lt"/>
                <a:ea typeface="+mn-ea"/>
                <a:sym typeface="+mn-lt"/>
              </a:defRPr>
            </a:lvl2pPr>
            <a:lvl3pPr>
              <a:defRPr lang="en-US" altLang="ja-JP" sz="1000" smtClean="0">
                <a:latin typeface="+mn-lt"/>
                <a:ea typeface="+mn-ea"/>
                <a:sym typeface="+mn-lt"/>
              </a:defRPr>
            </a:lvl3pPr>
            <a:lvl4pPr>
              <a:defRPr lang="en-US" altLang="ja-JP" sz="1000" smtClean="0">
                <a:latin typeface="+mn-lt"/>
                <a:ea typeface="+mn-ea"/>
                <a:sym typeface="+mn-lt"/>
              </a:defRPr>
            </a:lvl4pPr>
            <a:lvl5pPr>
              <a:defRPr lang="en-GB" sz="1000" dirty="0" smtClean="0">
                <a:latin typeface="+mn-lt"/>
                <a:ea typeface="+mn-ea"/>
                <a:sym typeface="+mn-lt"/>
              </a:defRPr>
            </a:lvl5pPr>
          </a:lstStyle>
          <a:p>
            <a:pPr lvl="0">
              <a:lnSpc>
                <a:spcPct val="100000"/>
              </a:lnSpc>
            </a:pPr>
            <a:r>
              <a:rPr lang="en-US" altLang="ja-JP"/>
              <a:t>Click to edit Master text styles</a:t>
            </a:r>
          </a:p>
          <a:p>
            <a:pPr lvl="1">
              <a:lnSpc>
                <a:spcPct val="100000"/>
              </a:lnSpc>
            </a:pPr>
            <a:r>
              <a:rPr lang="en-US" altLang="ja-JP"/>
              <a:t>Second level</a:t>
            </a:r>
          </a:p>
          <a:p>
            <a:pPr lvl="2">
              <a:lnSpc>
                <a:spcPct val="100000"/>
              </a:lnSpc>
            </a:pPr>
            <a:r>
              <a:rPr lang="en-US" altLang="ja-JP"/>
              <a:t>Third level</a:t>
            </a:r>
          </a:p>
          <a:p>
            <a:pPr lvl="3">
              <a:lnSpc>
                <a:spcPct val="100000"/>
              </a:lnSpc>
            </a:pPr>
            <a:r>
              <a:rPr lang="en-US" altLang="ja-JP"/>
              <a:t>Fourth level</a:t>
            </a:r>
          </a:p>
          <a:p>
            <a:pPr lvl="4">
              <a:lnSpc>
                <a:spcPct val="100000"/>
              </a:lnSpc>
            </a:pPr>
            <a:r>
              <a:rPr lang="en-US" altLang="ja-JP"/>
              <a:t>Fifth level</a:t>
            </a:r>
            <a:endParaRPr lang="en-GB" dirty="0"/>
          </a:p>
        </p:txBody>
      </p:sp>
      <p:sp>
        <p:nvSpPr>
          <p:cNvPr id="9" name="Content Left Top"/>
          <p:cNvSpPr>
            <a:spLocks noGrp="1"/>
          </p:cNvSpPr>
          <p:nvPr>
            <p:ph idx="1"/>
          </p:nvPr>
        </p:nvSpPr>
        <p:spPr bwMode="gray">
          <a:xfrm>
            <a:off x="287455" y="1341114"/>
            <a:ext cx="5520000" cy="2325600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US" altLang="ja-JP" sz="1000" smtClean="0">
                <a:latin typeface="+mn-lt"/>
                <a:ea typeface="+mn-ea"/>
                <a:sym typeface="+mn-lt"/>
              </a:defRPr>
            </a:lvl1pPr>
            <a:lvl2pPr>
              <a:defRPr lang="en-US" altLang="ja-JP" sz="1000" smtClean="0">
                <a:latin typeface="+mn-lt"/>
                <a:ea typeface="+mn-ea"/>
                <a:sym typeface="+mn-lt"/>
              </a:defRPr>
            </a:lvl2pPr>
            <a:lvl3pPr>
              <a:defRPr lang="en-US" altLang="ja-JP" sz="1000" smtClean="0">
                <a:latin typeface="+mn-lt"/>
                <a:ea typeface="+mn-ea"/>
                <a:sym typeface="+mn-lt"/>
              </a:defRPr>
            </a:lvl3pPr>
            <a:lvl4pPr>
              <a:defRPr lang="en-US" altLang="ja-JP" sz="1000" smtClean="0">
                <a:latin typeface="+mn-lt"/>
                <a:ea typeface="+mn-ea"/>
                <a:sym typeface="+mn-lt"/>
              </a:defRPr>
            </a:lvl4pPr>
            <a:lvl5pPr>
              <a:defRPr lang="en-GB" sz="1000" dirty="0" smtClean="0">
                <a:latin typeface="+mn-lt"/>
                <a:ea typeface="+mn-ea"/>
                <a:sym typeface="+mn-lt"/>
              </a:defRPr>
            </a:lvl5pPr>
          </a:lstStyle>
          <a:p>
            <a:pPr lvl="0">
              <a:lnSpc>
                <a:spcPct val="100000"/>
              </a:lnSpc>
            </a:pPr>
            <a:r>
              <a:rPr lang="en-US" altLang="ja-JP"/>
              <a:t>Click to edit Master text styles</a:t>
            </a:r>
          </a:p>
          <a:p>
            <a:pPr lvl="1">
              <a:lnSpc>
                <a:spcPct val="100000"/>
              </a:lnSpc>
            </a:pPr>
            <a:r>
              <a:rPr lang="en-US" altLang="ja-JP"/>
              <a:t>Second level</a:t>
            </a:r>
          </a:p>
          <a:p>
            <a:pPr lvl="2">
              <a:lnSpc>
                <a:spcPct val="100000"/>
              </a:lnSpc>
            </a:pPr>
            <a:r>
              <a:rPr lang="en-US" altLang="ja-JP"/>
              <a:t>Third level</a:t>
            </a:r>
          </a:p>
          <a:p>
            <a:pPr lvl="3">
              <a:lnSpc>
                <a:spcPct val="100000"/>
              </a:lnSpc>
            </a:pPr>
            <a:r>
              <a:rPr lang="en-US" altLang="ja-JP"/>
              <a:t>Fourth level</a:t>
            </a:r>
          </a:p>
          <a:p>
            <a:pPr lvl="4">
              <a:lnSpc>
                <a:spcPct val="100000"/>
              </a:lnSpc>
            </a:pPr>
            <a:r>
              <a:rPr lang="en-US" altLang="ja-JP"/>
              <a:t>Fifth level</a:t>
            </a:r>
            <a:endParaRPr lang="en-GB" dirty="0"/>
          </a:p>
        </p:txBody>
      </p:sp>
      <p:sp>
        <p:nvSpPr>
          <p:cNvPr id="10" name="Title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gray">
          <a:xfrm>
            <a:off x="287453" y="1"/>
            <a:ext cx="11625600" cy="1011600"/>
          </a:xfrm>
          <a:prstGeom prst="rect">
            <a:avLst/>
          </a:prstGeom>
        </p:spPr>
        <p:txBody>
          <a:bodyPr anchor="b"/>
          <a:lstStyle/>
          <a:p>
            <a:pPr lvl="0"/>
            <a:r>
              <a:rPr lang="en-US" altLang="ja-JP"/>
              <a:t>Click to edit Master title style</a:t>
            </a:r>
            <a:endParaRPr lang="en-GB" dirty="0"/>
          </a:p>
        </p:txBody>
      </p:sp>
      <p:sp>
        <p:nvSpPr>
          <p:cNvPr id="11" name="Content"/>
          <p:cNvSpPr>
            <a:spLocks noGrp="1"/>
          </p:cNvSpPr>
          <p:nvPr>
            <p:ph idx="10" hasCustomPrompt="1"/>
          </p:nvPr>
        </p:nvSpPr>
        <p:spPr bwMode="gray">
          <a:xfrm>
            <a:off x="287453" y="6046048"/>
            <a:ext cx="11625600" cy="123111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en-US" sz="800" dirty="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/>
            </a:lvl6pPr>
            <a:lvl7pPr fontAlgn="base">
              <a:lnSpc>
                <a:spcPct val="100000"/>
              </a:lnSpc>
              <a:spcAft>
                <a:spcPts val="0"/>
              </a:spcAft>
              <a:defRPr/>
            </a:lvl7pPr>
            <a:lvl8pPr fontAlgn="base">
              <a:lnSpc>
                <a:spcPct val="100000"/>
              </a:lnSpc>
              <a:spcAft>
                <a:spcPts val="0"/>
              </a:spcAft>
              <a:defRPr/>
            </a:lvl8pPr>
            <a:lvl9pPr fontAlgn="base">
              <a:lnSpc>
                <a:spcPct val="100000"/>
              </a:lnSpc>
              <a:spcAft>
                <a:spcPts val="0"/>
              </a:spcAft>
              <a:defRPr/>
            </a:lvl9pPr>
          </a:lstStyle>
          <a:p>
            <a:pPr lvl="0"/>
            <a:r>
              <a:rPr lang="en-GB" dirty="0"/>
              <a:t>Source: </a:t>
            </a:r>
          </a:p>
        </p:txBody>
      </p:sp>
    </p:spTree>
    <p:extLst>
      <p:ext uri="{BB962C8B-B14F-4D97-AF65-F5344CB8AC3E}">
        <p14:creationId xmlns:p14="http://schemas.microsoft.com/office/powerpoint/2010/main" val="3583443224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textboxes with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Right Top"/>
          <p:cNvSpPr>
            <a:spLocks noGrp="1"/>
          </p:cNvSpPr>
          <p:nvPr>
            <p:ph idx="29"/>
          </p:nvPr>
        </p:nvSpPr>
        <p:spPr bwMode="gray">
          <a:xfrm>
            <a:off x="6393053" y="1814188"/>
            <a:ext cx="5520000" cy="1852526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US" altLang="ja-JP" sz="1000" smtClean="0">
                <a:latin typeface="+mn-lt"/>
                <a:ea typeface="+mn-ea"/>
                <a:sym typeface="+mn-lt"/>
              </a:defRPr>
            </a:lvl1pPr>
            <a:lvl2pPr>
              <a:defRPr lang="en-US" altLang="ja-JP" sz="1000" smtClean="0">
                <a:latin typeface="+mn-lt"/>
                <a:ea typeface="+mn-ea"/>
                <a:sym typeface="+mn-lt"/>
              </a:defRPr>
            </a:lvl2pPr>
            <a:lvl3pPr>
              <a:defRPr lang="en-US" altLang="ja-JP" sz="1000" smtClean="0">
                <a:latin typeface="+mn-lt"/>
                <a:ea typeface="+mn-ea"/>
                <a:sym typeface="+mn-lt"/>
              </a:defRPr>
            </a:lvl3pPr>
            <a:lvl4pPr>
              <a:defRPr lang="en-US" altLang="ja-JP" sz="1000" smtClean="0">
                <a:latin typeface="+mn-lt"/>
                <a:ea typeface="+mn-ea"/>
                <a:sym typeface="+mn-lt"/>
              </a:defRPr>
            </a:lvl4pPr>
            <a:lvl5pPr>
              <a:defRPr lang="en-GB" sz="1000" dirty="0" smtClean="0">
                <a:latin typeface="+mn-lt"/>
                <a:ea typeface="+mn-ea"/>
                <a:sym typeface="+mn-lt"/>
              </a:defRPr>
            </a:lvl5pPr>
          </a:lstStyle>
          <a:p>
            <a:pPr lvl="0">
              <a:lnSpc>
                <a:spcPct val="100000"/>
              </a:lnSpc>
            </a:pPr>
            <a:r>
              <a:rPr lang="en-US" altLang="ja-JP"/>
              <a:t>Click to edit Master text styles</a:t>
            </a:r>
          </a:p>
          <a:p>
            <a:pPr lvl="1">
              <a:lnSpc>
                <a:spcPct val="100000"/>
              </a:lnSpc>
            </a:pPr>
            <a:r>
              <a:rPr lang="en-US" altLang="ja-JP"/>
              <a:t>Second level</a:t>
            </a:r>
          </a:p>
          <a:p>
            <a:pPr lvl="2">
              <a:lnSpc>
                <a:spcPct val="100000"/>
              </a:lnSpc>
            </a:pPr>
            <a:r>
              <a:rPr lang="en-US" altLang="ja-JP"/>
              <a:t>Third level</a:t>
            </a:r>
          </a:p>
          <a:p>
            <a:pPr lvl="3">
              <a:lnSpc>
                <a:spcPct val="100000"/>
              </a:lnSpc>
            </a:pPr>
            <a:r>
              <a:rPr lang="en-US" altLang="ja-JP"/>
              <a:t>Fourth level</a:t>
            </a:r>
          </a:p>
          <a:p>
            <a:pPr lvl="4">
              <a:lnSpc>
                <a:spcPct val="100000"/>
              </a:lnSpc>
            </a:pPr>
            <a:r>
              <a:rPr lang="en-US" altLang="ja-JP"/>
              <a:t>Fifth level</a:t>
            </a:r>
            <a:endParaRPr lang="en-GB" dirty="0"/>
          </a:p>
        </p:txBody>
      </p:sp>
      <p:sp>
        <p:nvSpPr>
          <p:cNvPr id="9" name="Content Left Top"/>
          <p:cNvSpPr>
            <a:spLocks noGrp="1"/>
          </p:cNvSpPr>
          <p:nvPr>
            <p:ph idx="1"/>
          </p:nvPr>
        </p:nvSpPr>
        <p:spPr bwMode="gray">
          <a:xfrm>
            <a:off x="287455" y="1814188"/>
            <a:ext cx="5520000" cy="1852526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US" altLang="ja-JP" sz="1000" smtClean="0">
                <a:latin typeface="+mn-lt"/>
                <a:ea typeface="+mn-ea"/>
                <a:sym typeface="+mn-lt"/>
              </a:defRPr>
            </a:lvl1pPr>
            <a:lvl2pPr>
              <a:defRPr lang="en-US" altLang="ja-JP" sz="1000" smtClean="0">
                <a:latin typeface="+mn-lt"/>
                <a:ea typeface="+mn-ea"/>
                <a:sym typeface="+mn-lt"/>
              </a:defRPr>
            </a:lvl2pPr>
            <a:lvl3pPr>
              <a:defRPr lang="en-US" altLang="ja-JP" sz="1000" smtClean="0">
                <a:latin typeface="+mn-lt"/>
                <a:ea typeface="+mn-ea"/>
                <a:sym typeface="+mn-lt"/>
              </a:defRPr>
            </a:lvl3pPr>
            <a:lvl4pPr>
              <a:defRPr lang="en-US" altLang="ja-JP" sz="1000" smtClean="0">
                <a:latin typeface="+mn-lt"/>
                <a:ea typeface="+mn-ea"/>
                <a:sym typeface="+mn-lt"/>
              </a:defRPr>
            </a:lvl4pPr>
            <a:lvl5pPr>
              <a:defRPr lang="en-GB" sz="1000" dirty="0" smtClean="0">
                <a:latin typeface="+mn-lt"/>
                <a:ea typeface="+mn-ea"/>
                <a:sym typeface="+mn-lt"/>
              </a:defRPr>
            </a:lvl5pPr>
          </a:lstStyle>
          <a:p>
            <a:pPr lvl="0">
              <a:lnSpc>
                <a:spcPct val="100000"/>
              </a:lnSpc>
            </a:pPr>
            <a:r>
              <a:rPr lang="en-US" altLang="ja-JP"/>
              <a:t>Click to edit Master text styles</a:t>
            </a:r>
          </a:p>
          <a:p>
            <a:pPr lvl="1">
              <a:lnSpc>
                <a:spcPct val="100000"/>
              </a:lnSpc>
            </a:pPr>
            <a:r>
              <a:rPr lang="en-US" altLang="ja-JP"/>
              <a:t>Second level</a:t>
            </a:r>
          </a:p>
          <a:p>
            <a:pPr lvl="2">
              <a:lnSpc>
                <a:spcPct val="100000"/>
              </a:lnSpc>
            </a:pPr>
            <a:r>
              <a:rPr lang="en-US" altLang="ja-JP"/>
              <a:t>Third level</a:t>
            </a:r>
          </a:p>
          <a:p>
            <a:pPr lvl="3">
              <a:lnSpc>
                <a:spcPct val="100000"/>
              </a:lnSpc>
            </a:pPr>
            <a:r>
              <a:rPr lang="en-US" altLang="ja-JP"/>
              <a:t>Fourth level</a:t>
            </a:r>
          </a:p>
          <a:p>
            <a:pPr lvl="4">
              <a:lnSpc>
                <a:spcPct val="100000"/>
              </a:lnSpc>
            </a:pPr>
            <a:r>
              <a:rPr lang="en-US" altLang="ja-JP"/>
              <a:t>Fifth level</a:t>
            </a:r>
            <a:endParaRPr lang="en-GB" dirty="0"/>
          </a:p>
        </p:txBody>
      </p:sp>
      <p:sp>
        <p:nvSpPr>
          <p:cNvPr id="11" name="Heading Right Top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6393053" y="1341115"/>
            <a:ext cx="5520000" cy="307777"/>
          </a:xfrm>
        </p:spPr>
        <p:txBody>
          <a:bodyPr wrap="square" lIns="0" tIns="0" rIns="0" bIns="0"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000" b="1">
                <a:solidFill>
                  <a:schemeClr val="accent1"/>
                </a:solidFill>
                <a:latin typeface="+mn-lt"/>
                <a:sym typeface="+mn-lt"/>
              </a:defRPr>
            </a:lvl1pPr>
            <a:lvl2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000">
                <a:solidFill>
                  <a:schemeClr val="accent1"/>
                </a:solidFill>
                <a:latin typeface="+mn-lt"/>
                <a:sym typeface="+mn-lt"/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Heading 10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10" name="Heading Left Top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287455" y="1341115"/>
            <a:ext cx="5520000" cy="307777"/>
          </a:xfrm>
        </p:spPr>
        <p:txBody>
          <a:bodyPr wrap="square" lIns="0" tIns="0" rIns="0" bIns="0"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000" b="1">
                <a:solidFill>
                  <a:schemeClr val="accent1"/>
                </a:solidFill>
                <a:latin typeface="+mn-lt"/>
                <a:sym typeface="+mn-lt"/>
              </a:defRPr>
            </a:lvl1pPr>
            <a:lvl2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000">
                <a:solidFill>
                  <a:schemeClr val="accent1"/>
                </a:solidFill>
                <a:latin typeface="+mn-lt"/>
                <a:sym typeface="+mn-lt"/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Heading 10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14" name="Title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gray">
          <a:xfrm>
            <a:off x="287453" y="1"/>
            <a:ext cx="11625600" cy="1011600"/>
          </a:xfrm>
          <a:prstGeom prst="rect">
            <a:avLst/>
          </a:prstGeom>
        </p:spPr>
        <p:txBody>
          <a:bodyPr anchor="b"/>
          <a:lstStyle/>
          <a:p>
            <a:pPr lvl="0"/>
            <a:r>
              <a:rPr lang="en-US" altLang="ja-JP"/>
              <a:t>Click to edit Master title style</a:t>
            </a:r>
            <a:endParaRPr lang="en-GB" dirty="0"/>
          </a:p>
        </p:txBody>
      </p:sp>
      <p:sp>
        <p:nvSpPr>
          <p:cNvPr id="15" name="Content"/>
          <p:cNvSpPr>
            <a:spLocks noGrp="1"/>
          </p:cNvSpPr>
          <p:nvPr>
            <p:ph idx="10" hasCustomPrompt="1"/>
          </p:nvPr>
        </p:nvSpPr>
        <p:spPr bwMode="gray">
          <a:xfrm>
            <a:off x="287453" y="6046048"/>
            <a:ext cx="11625600" cy="123111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en-US" sz="800" dirty="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/>
            </a:lvl6pPr>
            <a:lvl7pPr fontAlgn="base">
              <a:lnSpc>
                <a:spcPct val="100000"/>
              </a:lnSpc>
              <a:spcAft>
                <a:spcPts val="0"/>
              </a:spcAft>
              <a:defRPr/>
            </a:lvl7pPr>
            <a:lvl8pPr fontAlgn="base">
              <a:lnSpc>
                <a:spcPct val="100000"/>
              </a:lnSpc>
              <a:spcAft>
                <a:spcPts val="0"/>
              </a:spcAft>
              <a:defRPr/>
            </a:lvl8pPr>
            <a:lvl9pPr fontAlgn="base">
              <a:lnSpc>
                <a:spcPct val="100000"/>
              </a:lnSpc>
              <a:spcAft>
                <a:spcPts val="0"/>
              </a:spcAft>
              <a:defRPr/>
            </a:lvl9pPr>
          </a:lstStyle>
          <a:p>
            <a:pPr lvl="0"/>
            <a:r>
              <a:rPr lang="en-GB" dirty="0"/>
              <a:t>Source: </a:t>
            </a:r>
          </a:p>
        </p:txBody>
      </p:sp>
      <p:sp>
        <p:nvSpPr>
          <p:cNvPr id="21" name="Content Right Top"/>
          <p:cNvSpPr>
            <a:spLocks noGrp="1"/>
          </p:cNvSpPr>
          <p:nvPr>
            <p:ph idx="34"/>
          </p:nvPr>
        </p:nvSpPr>
        <p:spPr bwMode="gray">
          <a:xfrm>
            <a:off x="6393053" y="4316632"/>
            <a:ext cx="5520000" cy="1852526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US" altLang="ja-JP" sz="1000" smtClean="0">
                <a:latin typeface="+mn-lt"/>
                <a:ea typeface="+mn-ea"/>
                <a:sym typeface="+mn-lt"/>
              </a:defRPr>
            </a:lvl1pPr>
            <a:lvl2pPr>
              <a:defRPr lang="en-US" altLang="ja-JP" sz="1000" smtClean="0">
                <a:latin typeface="+mn-lt"/>
                <a:ea typeface="+mn-ea"/>
                <a:sym typeface="+mn-lt"/>
              </a:defRPr>
            </a:lvl2pPr>
            <a:lvl3pPr>
              <a:defRPr lang="en-US" altLang="ja-JP" sz="1000" smtClean="0">
                <a:latin typeface="+mn-lt"/>
                <a:ea typeface="+mn-ea"/>
                <a:sym typeface="+mn-lt"/>
              </a:defRPr>
            </a:lvl3pPr>
            <a:lvl4pPr>
              <a:defRPr lang="en-US" altLang="ja-JP" sz="1000" smtClean="0">
                <a:latin typeface="+mn-lt"/>
                <a:ea typeface="+mn-ea"/>
                <a:sym typeface="+mn-lt"/>
              </a:defRPr>
            </a:lvl4pPr>
            <a:lvl5pPr>
              <a:defRPr lang="en-GB" sz="1000" dirty="0" smtClean="0">
                <a:latin typeface="+mn-lt"/>
                <a:ea typeface="+mn-ea"/>
                <a:sym typeface="+mn-lt"/>
              </a:defRPr>
            </a:lvl5pPr>
          </a:lstStyle>
          <a:p>
            <a:pPr lvl="0">
              <a:lnSpc>
                <a:spcPct val="100000"/>
              </a:lnSpc>
            </a:pPr>
            <a:r>
              <a:rPr lang="en-US" altLang="ja-JP"/>
              <a:t>Click to edit Master text styles</a:t>
            </a:r>
          </a:p>
          <a:p>
            <a:pPr lvl="1">
              <a:lnSpc>
                <a:spcPct val="100000"/>
              </a:lnSpc>
            </a:pPr>
            <a:r>
              <a:rPr lang="en-US" altLang="ja-JP"/>
              <a:t>Second level</a:t>
            </a:r>
          </a:p>
          <a:p>
            <a:pPr lvl="2">
              <a:lnSpc>
                <a:spcPct val="100000"/>
              </a:lnSpc>
            </a:pPr>
            <a:r>
              <a:rPr lang="en-US" altLang="ja-JP"/>
              <a:t>Third level</a:t>
            </a:r>
          </a:p>
          <a:p>
            <a:pPr lvl="3">
              <a:lnSpc>
                <a:spcPct val="100000"/>
              </a:lnSpc>
            </a:pPr>
            <a:r>
              <a:rPr lang="en-US" altLang="ja-JP"/>
              <a:t>Fourth level</a:t>
            </a:r>
          </a:p>
          <a:p>
            <a:pPr lvl="4">
              <a:lnSpc>
                <a:spcPct val="100000"/>
              </a:lnSpc>
            </a:pPr>
            <a:r>
              <a:rPr lang="en-US" altLang="ja-JP"/>
              <a:t>Fifth level</a:t>
            </a:r>
            <a:endParaRPr lang="en-GB" dirty="0"/>
          </a:p>
        </p:txBody>
      </p:sp>
      <p:sp>
        <p:nvSpPr>
          <p:cNvPr id="22" name="Content Left Top"/>
          <p:cNvSpPr>
            <a:spLocks noGrp="1"/>
          </p:cNvSpPr>
          <p:nvPr>
            <p:ph idx="35"/>
          </p:nvPr>
        </p:nvSpPr>
        <p:spPr bwMode="gray">
          <a:xfrm>
            <a:off x="287455" y="4316632"/>
            <a:ext cx="5520000" cy="1852526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US" altLang="ja-JP" sz="1000" smtClean="0">
                <a:latin typeface="+mn-lt"/>
                <a:ea typeface="+mn-ea"/>
                <a:sym typeface="+mn-lt"/>
              </a:defRPr>
            </a:lvl1pPr>
            <a:lvl2pPr>
              <a:defRPr lang="en-US" altLang="ja-JP" sz="1000" smtClean="0">
                <a:latin typeface="+mn-lt"/>
                <a:ea typeface="+mn-ea"/>
                <a:sym typeface="+mn-lt"/>
              </a:defRPr>
            </a:lvl2pPr>
            <a:lvl3pPr>
              <a:defRPr lang="en-US" altLang="ja-JP" sz="1000" smtClean="0">
                <a:latin typeface="+mn-lt"/>
                <a:ea typeface="+mn-ea"/>
                <a:sym typeface="+mn-lt"/>
              </a:defRPr>
            </a:lvl3pPr>
            <a:lvl4pPr>
              <a:defRPr lang="en-US" altLang="ja-JP" sz="1000" smtClean="0">
                <a:latin typeface="+mn-lt"/>
                <a:ea typeface="+mn-ea"/>
                <a:sym typeface="+mn-lt"/>
              </a:defRPr>
            </a:lvl4pPr>
            <a:lvl5pPr>
              <a:defRPr lang="en-GB" sz="1000" dirty="0" smtClean="0">
                <a:latin typeface="+mn-lt"/>
                <a:ea typeface="+mn-ea"/>
                <a:sym typeface="+mn-lt"/>
              </a:defRPr>
            </a:lvl5pPr>
          </a:lstStyle>
          <a:p>
            <a:pPr lvl="0">
              <a:lnSpc>
                <a:spcPct val="100000"/>
              </a:lnSpc>
            </a:pPr>
            <a:r>
              <a:rPr lang="en-US" altLang="ja-JP"/>
              <a:t>Click to edit Master text styles</a:t>
            </a:r>
          </a:p>
          <a:p>
            <a:pPr lvl="1">
              <a:lnSpc>
                <a:spcPct val="100000"/>
              </a:lnSpc>
            </a:pPr>
            <a:r>
              <a:rPr lang="en-US" altLang="ja-JP"/>
              <a:t>Second level</a:t>
            </a:r>
          </a:p>
          <a:p>
            <a:pPr lvl="2">
              <a:lnSpc>
                <a:spcPct val="100000"/>
              </a:lnSpc>
            </a:pPr>
            <a:r>
              <a:rPr lang="en-US" altLang="ja-JP"/>
              <a:t>Third level</a:t>
            </a:r>
          </a:p>
          <a:p>
            <a:pPr lvl="3">
              <a:lnSpc>
                <a:spcPct val="100000"/>
              </a:lnSpc>
            </a:pPr>
            <a:r>
              <a:rPr lang="en-US" altLang="ja-JP"/>
              <a:t>Fourth level</a:t>
            </a:r>
          </a:p>
          <a:p>
            <a:pPr lvl="4">
              <a:lnSpc>
                <a:spcPct val="100000"/>
              </a:lnSpc>
            </a:pPr>
            <a:r>
              <a:rPr lang="en-US" altLang="ja-JP"/>
              <a:t>Fifth level</a:t>
            </a:r>
            <a:endParaRPr lang="en-GB" dirty="0"/>
          </a:p>
        </p:txBody>
      </p:sp>
      <p:sp>
        <p:nvSpPr>
          <p:cNvPr id="23" name="Heading Right Top"/>
          <p:cNvSpPr>
            <a:spLocks noGrp="1"/>
          </p:cNvSpPr>
          <p:nvPr>
            <p:ph type="body" sz="quarter" idx="36" hasCustomPrompt="1"/>
          </p:nvPr>
        </p:nvSpPr>
        <p:spPr bwMode="gray">
          <a:xfrm>
            <a:off x="6393053" y="3843558"/>
            <a:ext cx="5520000" cy="307777"/>
          </a:xfrm>
        </p:spPr>
        <p:txBody>
          <a:bodyPr wrap="square" lIns="0" tIns="0" rIns="0" bIns="0"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000" b="1">
                <a:solidFill>
                  <a:schemeClr val="accent1"/>
                </a:solidFill>
                <a:latin typeface="+mn-lt"/>
                <a:sym typeface="+mn-lt"/>
              </a:defRPr>
            </a:lvl1pPr>
            <a:lvl2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000">
                <a:solidFill>
                  <a:schemeClr val="accent1"/>
                </a:solidFill>
                <a:latin typeface="+mn-lt"/>
                <a:sym typeface="+mn-lt"/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Heading 10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4" name="Heading Left Top"/>
          <p:cNvSpPr>
            <a:spLocks noGrp="1"/>
          </p:cNvSpPr>
          <p:nvPr>
            <p:ph type="body" sz="quarter" idx="37" hasCustomPrompt="1"/>
          </p:nvPr>
        </p:nvSpPr>
        <p:spPr bwMode="gray">
          <a:xfrm>
            <a:off x="287455" y="3843558"/>
            <a:ext cx="5520000" cy="307777"/>
          </a:xfrm>
        </p:spPr>
        <p:txBody>
          <a:bodyPr wrap="square" lIns="0" tIns="0" rIns="0" bIns="0"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000" b="1">
                <a:solidFill>
                  <a:schemeClr val="accent1"/>
                </a:solidFill>
                <a:latin typeface="+mn-lt"/>
                <a:sym typeface="+mn-lt"/>
              </a:defRPr>
            </a:lvl1pPr>
            <a:lvl2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000">
                <a:solidFill>
                  <a:schemeClr val="accent1"/>
                </a:solidFill>
                <a:latin typeface="+mn-lt"/>
                <a:sym typeface="+mn-lt"/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Heading 10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0 </a:t>
            </a:r>
            <a:r>
              <a:rPr lang="en-US" dirty="0" err="1"/>
              <a:t>p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88826204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Content Right"/>
          <p:cNvSpPr>
            <a:spLocks noGrp="1"/>
          </p:cNvSpPr>
          <p:nvPr>
            <p:ph idx="27"/>
          </p:nvPr>
        </p:nvSpPr>
        <p:spPr bwMode="gray">
          <a:xfrm>
            <a:off x="8313053" y="1341114"/>
            <a:ext cx="3600000" cy="4828044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fontAlgn="base">
              <a:lnSpc>
                <a:spcPct val="100000"/>
              </a:lnSpc>
              <a:spcAft>
                <a:spcPts val="0"/>
              </a:spcAft>
              <a:defRPr lang="en-US" sz="120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sz="120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sz="120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sz="120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sz="1200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 sz="1200"/>
            </a:lvl6pPr>
            <a:lvl7pPr fontAlgn="base">
              <a:lnSpc>
                <a:spcPct val="100000"/>
              </a:lnSpc>
              <a:spcAft>
                <a:spcPts val="0"/>
              </a:spcAft>
              <a:defRPr sz="1200"/>
            </a:lvl7pPr>
            <a:lvl8pPr fontAlgn="base">
              <a:lnSpc>
                <a:spcPct val="100000"/>
              </a:lnSpc>
              <a:spcAft>
                <a:spcPts val="0"/>
              </a:spcAft>
              <a:defRPr sz="1200"/>
            </a:lvl8pPr>
            <a:lvl9pPr fontAlgn="base">
              <a:lnSpc>
                <a:spcPct val="100000"/>
              </a:lnSpc>
              <a:spcAft>
                <a:spcPts val="0"/>
              </a:spcAft>
              <a:defRPr sz="1200"/>
            </a:lvl9pPr>
          </a:lstStyle>
          <a:p>
            <a:pPr lvl="0"/>
            <a:r>
              <a:rPr lang="en-US" altLang="ja-JP"/>
              <a:t>Click to edit Master text styles</a:t>
            </a:r>
          </a:p>
          <a:p>
            <a:pPr lvl="1"/>
            <a:r>
              <a:rPr lang="en-US" altLang="ja-JP"/>
              <a:t>Second level</a:t>
            </a:r>
          </a:p>
          <a:p>
            <a:pPr lvl="2"/>
            <a:r>
              <a:rPr lang="en-US" altLang="ja-JP"/>
              <a:t>Third level</a:t>
            </a:r>
          </a:p>
          <a:p>
            <a:pPr lvl="3"/>
            <a:r>
              <a:rPr lang="en-US" altLang="ja-JP"/>
              <a:t>Fourth level</a:t>
            </a:r>
          </a:p>
          <a:p>
            <a:pPr lvl="4"/>
            <a:r>
              <a:rPr lang="en-US" altLang="ja-JP"/>
              <a:t>Fifth level</a:t>
            </a:r>
            <a:endParaRPr lang="en-GB" dirty="0"/>
          </a:p>
        </p:txBody>
      </p:sp>
      <p:sp>
        <p:nvSpPr>
          <p:cNvPr id="14" name="Content Middle"/>
          <p:cNvSpPr>
            <a:spLocks noGrp="1"/>
          </p:cNvSpPr>
          <p:nvPr>
            <p:ph idx="26"/>
          </p:nvPr>
        </p:nvSpPr>
        <p:spPr bwMode="gray">
          <a:xfrm>
            <a:off x="4300252" y="1341114"/>
            <a:ext cx="3600000" cy="4828044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sz="1200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 sz="1200"/>
            </a:lvl6pPr>
            <a:lvl7pPr fontAlgn="base">
              <a:lnSpc>
                <a:spcPct val="100000"/>
              </a:lnSpc>
              <a:spcAft>
                <a:spcPts val="0"/>
              </a:spcAft>
              <a:defRPr sz="1200"/>
            </a:lvl7pPr>
            <a:lvl8pPr fontAlgn="base">
              <a:lnSpc>
                <a:spcPct val="100000"/>
              </a:lnSpc>
              <a:spcAft>
                <a:spcPts val="0"/>
              </a:spcAft>
              <a:defRPr sz="1200"/>
            </a:lvl8pPr>
            <a:lvl9pPr fontAlgn="base">
              <a:lnSpc>
                <a:spcPct val="100000"/>
              </a:lnSpc>
              <a:spcAft>
                <a:spcPts val="0"/>
              </a:spcAft>
              <a:defRPr sz="1200"/>
            </a:lvl9pPr>
          </a:lstStyle>
          <a:p>
            <a:pPr lvl="0"/>
            <a:r>
              <a:rPr lang="en-US" altLang="ja-JP"/>
              <a:t>Click to edit Master text styles</a:t>
            </a:r>
          </a:p>
          <a:p>
            <a:pPr lvl="1"/>
            <a:r>
              <a:rPr lang="en-US" altLang="ja-JP"/>
              <a:t>Second level</a:t>
            </a:r>
          </a:p>
          <a:p>
            <a:pPr lvl="2"/>
            <a:r>
              <a:rPr lang="en-US" altLang="ja-JP"/>
              <a:t>Third level</a:t>
            </a:r>
          </a:p>
          <a:p>
            <a:pPr lvl="3"/>
            <a:r>
              <a:rPr lang="en-US" altLang="ja-JP"/>
              <a:t>Fourth level</a:t>
            </a:r>
          </a:p>
          <a:p>
            <a:pPr lvl="4"/>
            <a:r>
              <a:rPr lang="en-US" altLang="ja-JP"/>
              <a:t>Fifth level</a:t>
            </a:r>
            <a:endParaRPr lang="en-GB" dirty="0"/>
          </a:p>
        </p:txBody>
      </p:sp>
      <p:sp>
        <p:nvSpPr>
          <p:cNvPr id="13" name="Content Left"/>
          <p:cNvSpPr>
            <a:spLocks noGrp="1"/>
          </p:cNvSpPr>
          <p:nvPr>
            <p:ph idx="25"/>
          </p:nvPr>
        </p:nvSpPr>
        <p:spPr bwMode="gray">
          <a:xfrm>
            <a:off x="287452" y="1341114"/>
            <a:ext cx="3600000" cy="4828044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fontAlgn="base">
              <a:lnSpc>
                <a:spcPct val="100000"/>
              </a:lnSpc>
              <a:spcAft>
                <a:spcPts val="0"/>
              </a:spcAft>
              <a:defRPr lang="en-US" sz="120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sz="120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sz="120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sz="120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sz="1200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 sz="1200"/>
            </a:lvl6pPr>
            <a:lvl7pPr fontAlgn="base">
              <a:lnSpc>
                <a:spcPct val="100000"/>
              </a:lnSpc>
              <a:spcAft>
                <a:spcPts val="0"/>
              </a:spcAft>
              <a:defRPr sz="1200"/>
            </a:lvl7pPr>
            <a:lvl8pPr fontAlgn="base">
              <a:lnSpc>
                <a:spcPct val="100000"/>
              </a:lnSpc>
              <a:spcAft>
                <a:spcPts val="0"/>
              </a:spcAft>
              <a:defRPr sz="1200"/>
            </a:lvl8pPr>
            <a:lvl9pPr fontAlgn="base">
              <a:lnSpc>
                <a:spcPct val="100000"/>
              </a:lnSpc>
              <a:spcAft>
                <a:spcPts val="0"/>
              </a:spcAft>
              <a:defRPr sz="1200"/>
            </a:lvl9pPr>
          </a:lstStyle>
          <a:p>
            <a:pPr lvl="0"/>
            <a:r>
              <a:rPr lang="en-US" altLang="ja-JP"/>
              <a:t>Click to edit Master text styles</a:t>
            </a:r>
          </a:p>
          <a:p>
            <a:pPr lvl="1"/>
            <a:r>
              <a:rPr lang="en-US" altLang="ja-JP"/>
              <a:t>Second level</a:t>
            </a:r>
          </a:p>
          <a:p>
            <a:pPr lvl="2"/>
            <a:r>
              <a:rPr lang="en-US" altLang="ja-JP"/>
              <a:t>Third level</a:t>
            </a:r>
          </a:p>
          <a:p>
            <a:pPr lvl="3"/>
            <a:r>
              <a:rPr lang="en-US" altLang="ja-JP"/>
              <a:t>Fourth level</a:t>
            </a:r>
          </a:p>
          <a:p>
            <a:pPr lvl="4"/>
            <a:r>
              <a:rPr lang="en-US" altLang="ja-JP"/>
              <a:t>Fifth level</a:t>
            </a:r>
            <a:endParaRPr lang="en-GB" dirty="0"/>
          </a:p>
        </p:txBody>
      </p:sp>
      <p:sp>
        <p:nvSpPr>
          <p:cNvPr id="7" name="Title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gray">
          <a:xfrm>
            <a:off x="287453" y="1"/>
            <a:ext cx="11625600" cy="1011600"/>
          </a:xfrm>
          <a:prstGeom prst="rect">
            <a:avLst/>
          </a:prstGeom>
        </p:spPr>
        <p:txBody>
          <a:bodyPr anchor="b"/>
          <a:lstStyle/>
          <a:p>
            <a:pPr lvl="0"/>
            <a:r>
              <a:rPr lang="en-US" altLang="ja-JP"/>
              <a:t>Click to edit Master title style</a:t>
            </a:r>
            <a:endParaRPr lang="en-GB" dirty="0"/>
          </a:p>
        </p:txBody>
      </p:sp>
      <p:sp>
        <p:nvSpPr>
          <p:cNvPr id="6" name="Content"/>
          <p:cNvSpPr>
            <a:spLocks noGrp="1"/>
          </p:cNvSpPr>
          <p:nvPr>
            <p:ph idx="10" hasCustomPrompt="1"/>
          </p:nvPr>
        </p:nvSpPr>
        <p:spPr bwMode="gray">
          <a:xfrm>
            <a:off x="287453" y="6046048"/>
            <a:ext cx="11625600" cy="123111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en-US" sz="800" dirty="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/>
            </a:lvl6pPr>
            <a:lvl7pPr fontAlgn="base">
              <a:lnSpc>
                <a:spcPct val="100000"/>
              </a:lnSpc>
              <a:spcAft>
                <a:spcPts val="0"/>
              </a:spcAft>
              <a:defRPr/>
            </a:lvl7pPr>
            <a:lvl8pPr fontAlgn="base">
              <a:lnSpc>
                <a:spcPct val="100000"/>
              </a:lnSpc>
              <a:spcAft>
                <a:spcPts val="0"/>
              </a:spcAft>
              <a:defRPr/>
            </a:lvl8pPr>
            <a:lvl9pPr fontAlgn="base">
              <a:lnSpc>
                <a:spcPct val="100000"/>
              </a:lnSpc>
              <a:spcAft>
                <a:spcPts val="0"/>
              </a:spcAft>
              <a:defRPr/>
            </a:lvl9pPr>
          </a:lstStyle>
          <a:p>
            <a:pPr lvl="0"/>
            <a:r>
              <a:rPr lang="en-GB" dirty="0"/>
              <a:t>Source: </a:t>
            </a:r>
          </a:p>
        </p:txBody>
      </p:sp>
    </p:spTree>
    <p:extLst>
      <p:ext uri="{BB962C8B-B14F-4D97-AF65-F5344CB8AC3E}">
        <p14:creationId xmlns:p14="http://schemas.microsoft.com/office/powerpoint/2010/main" val="426356579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with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Content Right"/>
          <p:cNvSpPr>
            <a:spLocks noGrp="1"/>
          </p:cNvSpPr>
          <p:nvPr>
            <p:ph idx="27"/>
          </p:nvPr>
        </p:nvSpPr>
        <p:spPr bwMode="gray">
          <a:xfrm>
            <a:off x="8313053" y="1882448"/>
            <a:ext cx="3600000" cy="4286711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fontAlgn="base">
              <a:lnSpc>
                <a:spcPct val="100000"/>
              </a:lnSpc>
              <a:spcAft>
                <a:spcPts val="0"/>
              </a:spcAft>
              <a:defRPr lang="en-US" sz="120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sz="120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sz="120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sz="120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sz="1200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 sz="1200"/>
            </a:lvl6pPr>
            <a:lvl7pPr fontAlgn="base">
              <a:lnSpc>
                <a:spcPct val="100000"/>
              </a:lnSpc>
              <a:spcAft>
                <a:spcPts val="0"/>
              </a:spcAft>
              <a:defRPr sz="1200"/>
            </a:lvl7pPr>
            <a:lvl8pPr fontAlgn="base">
              <a:lnSpc>
                <a:spcPct val="100000"/>
              </a:lnSpc>
              <a:spcAft>
                <a:spcPts val="0"/>
              </a:spcAft>
              <a:defRPr sz="1200"/>
            </a:lvl8pPr>
            <a:lvl9pPr fontAlgn="base">
              <a:lnSpc>
                <a:spcPct val="100000"/>
              </a:lnSpc>
              <a:spcAft>
                <a:spcPts val="0"/>
              </a:spcAft>
              <a:defRPr sz="1200"/>
            </a:lvl9pPr>
          </a:lstStyle>
          <a:p>
            <a:pPr lvl="0"/>
            <a:r>
              <a:rPr lang="en-US" altLang="ja-JP"/>
              <a:t>Click to edit Master text styles</a:t>
            </a:r>
          </a:p>
          <a:p>
            <a:pPr lvl="1"/>
            <a:r>
              <a:rPr lang="en-US" altLang="ja-JP"/>
              <a:t>Second level</a:t>
            </a:r>
          </a:p>
          <a:p>
            <a:pPr lvl="2"/>
            <a:r>
              <a:rPr lang="en-US" altLang="ja-JP"/>
              <a:t>Third level</a:t>
            </a:r>
          </a:p>
          <a:p>
            <a:pPr lvl="3"/>
            <a:r>
              <a:rPr lang="en-US" altLang="ja-JP"/>
              <a:t>Fourth level</a:t>
            </a:r>
          </a:p>
          <a:p>
            <a:pPr lvl="4"/>
            <a:r>
              <a:rPr lang="en-US" altLang="ja-JP"/>
              <a:t>Fifth level</a:t>
            </a:r>
            <a:endParaRPr lang="en-GB" dirty="0"/>
          </a:p>
        </p:txBody>
      </p:sp>
      <p:sp>
        <p:nvSpPr>
          <p:cNvPr id="17" name="Content Middle"/>
          <p:cNvSpPr>
            <a:spLocks noGrp="1"/>
          </p:cNvSpPr>
          <p:nvPr>
            <p:ph idx="26"/>
          </p:nvPr>
        </p:nvSpPr>
        <p:spPr bwMode="gray">
          <a:xfrm>
            <a:off x="4300252" y="1882448"/>
            <a:ext cx="3600000" cy="4286711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sz="1200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 sz="1200"/>
            </a:lvl6pPr>
            <a:lvl7pPr fontAlgn="base">
              <a:lnSpc>
                <a:spcPct val="100000"/>
              </a:lnSpc>
              <a:spcAft>
                <a:spcPts val="0"/>
              </a:spcAft>
              <a:defRPr sz="1200"/>
            </a:lvl7pPr>
            <a:lvl8pPr fontAlgn="base">
              <a:lnSpc>
                <a:spcPct val="100000"/>
              </a:lnSpc>
              <a:spcAft>
                <a:spcPts val="0"/>
              </a:spcAft>
              <a:defRPr sz="1200"/>
            </a:lvl8pPr>
            <a:lvl9pPr fontAlgn="base">
              <a:lnSpc>
                <a:spcPct val="100000"/>
              </a:lnSpc>
              <a:spcAft>
                <a:spcPts val="0"/>
              </a:spcAft>
              <a:defRPr sz="1200"/>
            </a:lvl9pPr>
          </a:lstStyle>
          <a:p>
            <a:pPr lvl="0"/>
            <a:r>
              <a:rPr lang="en-US" altLang="ja-JP"/>
              <a:t>Click to edit Master text styles</a:t>
            </a:r>
          </a:p>
          <a:p>
            <a:pPr lvl="1"/>
            <a:r>
              <a:rPr lang="en-US" altLang="ja-JP"/>
              <a:t>Second level</a:t>
            </a:r>
          </a:p>
          <a:p>
            <a:pPr lvl="2"/>
            <a:r>
              <a:rPr lang="en-US" altLang="ja-JP"/>
              <a:t>Third level</a:t>
            </a:r>
          </a:p>
          <a:p>
            <a:pPr lvl="3"/>
            <a:r>
              <a:rPr lang="en-US" altLang="ja-JP"/>
              <a:t>Fourth level</a:t>
            </a:r>
          </a:p>
          <a:p>
            <a:pPr lvl="4"/>
            <a:r>
              <a:rPr lang="en-US" altLang="ja-JP"/>
              <a:t>Fifth level</a:t>
            </a:r>
            <a:endParaRPr lang="en-GB" dirty="0"/>
          </a:p>
        </p:txBody>
      </p:sp>
      <p:sp>
        <p:nvSpPr>
          <p:cNvPr id="16" name="Content Left"/>
          <p:cNvSpPr>
            <a:spLocks noGrp="1"/>
          </p:cNvSpPr>
          <p:nvPr>
            <p:ph idx="25"/>
          </p:nvPr>
        </p:nvSpPr>
        <p:spPr bwMode="gray">
          <a:xfrm>
            <a:off x="287452" y="1882448"/>
            <a:ext cx="3600000" cy="4286711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sz="1200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 sz="1200"/>
            </a:lvl6pPr>
            <a:lvl7pPr fontAlgn="base">
              <a:lnSpc>
                <a:spcPct val="100000"/>
              </a:lnSpc>
              <a:spcAft>
                <a:spcPts val="0"/>
              </a:spcAft>
              <a:defRPr sz="1200"/>
            </a:lvl7pPr>
            <a:lvl8pPr fontAlgn="base">
              <a:lnSpc>
                <a:spcPct val="100000"/>
              </a:lnSpc>
              <a:spcAft>
                <a:spcPts val="0"/>
              </a:spcAft>
              <a:defRPr sz="1200"/>
            </a:lvl8pPr>
            <a:lvl9pPr fontAlgn="base">
              <a:lnSpc>
                <a:spcPct val="100000"/>
              </a:lnSpc>
              <a:spcAft>
                <a:spcPts val="0"/>
              </a:spcAft>
              <a:defRPr sz="1200"/>
            </a:lvl9pPr>
          </a:lstStyle>
          <a:p>
            <a:pPr lvl="0"/>
            <a:r>
              <a:rPr lang="en-US" altLang="ja-JP"/>
              <a:t>Click to edit Master text styles</a:t>
            </a:r>
          </a:p>
          <a:p>
            <a:pPr lvl="1"/>
            <a:r>
              <a:rPr lang="en-US" altLang="ja-JP"/>
              <a:t>Second level</a:t>
            </a:r>
          </a:p>
          <a:p>
            <a:pPr lvl="2"/>
            <a:r>
              <a:rPr lang="en-US" altLang="ja-JP"/>
              <a:t>Third level</a:t>
            </a:r>
          </a:p>
          <a:p>
            <a:pPr lvl="3"/>
            <a:r>
              <a:rPr lang="en-US" altLang="ja-JP"/>
              <a:t>Fourth level</a:t>
            </a:r>
          </a:p>
          <a:p>
            <a:pPr lvl="4"/>
            <a:r>
              <a:rPr lang="en-US" altLang="ja-JP"/>
              <a:t>Fifth level</a:t>
            </a:r>
            <a:endParaRPr lang="en-GB" dirty="0"/>
          </a:p>
        </p:txBody>
      </p:sp>
      <p:sp>
        <p:nvSpPr>
          <p:cNvPr id="21" name="Heading Right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8313053" y="1337514"/>
            <a:ext cx="3600000" cy="369332"/>
          </a:xfrm>
        </p:spPr>
        <p:txBody>
          <a:bodyPr wrap="square" lIns="0" tIns="0" rIns="0" bIns="0"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200" b="1">
                <a:solidFill>
                  <a:schemeClr val="accent1"/>
                </a:solidFill>
                <a:latin typeface="+mn-lt"/>
                <a:sym typeface="+mn-lt"/>
              </a:defRPr>
            </a:lvl1pPr>
            <a:lvl2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200" b="0" baseline="0">
                <a:solidFill>
                  <a:schemeClr val="accent1"/>
                </a:solidFill>
                <a:latin typeface="+mn-lt"/>
                <a:sym typeface="+mn-lt"/>
              </a:defRPr>
            </a:lvl2pPr>
          </a:lstStyle>
          <a:p>
            <a:pPr lvl="0"/>
            <a:r>
              <a:rPr lang="en-US" dirty="0"/>
              <a:t>Heading 12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2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2" name="Heading Middle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300253" y="1337514"/>
            <a:ext cx="3600000" cy="369332"/>
          </a:xfrm>
        </p:spPr>
        <p:txBody>
          <a:bodyPr lIns="0" tIns="0" rIns="0" bIns="0"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200" b="1">
                <a:solidFill>
                  <a:schemeClr val="accent1"/>
                </a:solidFill>
                <a:latin typeface="+mn-lt"/>
                <a:sym typeface="+mn-lt"/>
              </a:defRPr>
            </a:lvl1pPr>
            <a:lvl2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200" b="0" baseline="0">
                <a:solidFill>
                  <a:schemeClr val="accent1"/>
                </a:solidFill>
                <a:latin typeface="+mn-lt"/>
                <a:sym typeface="+mn-lt"/>
              </a:defRPr>
            </a:lvl2pPr>
          </a:lstStyle>
          <a:p>
            <a:pPr lvl="0"/>
            <a:r>
              <a:rPr lang="en-US" dirty="0"/>
              <a:t>Heading 12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2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0" name="Heading Left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287453" y="1337514"/>
            <a:ext cx="3600000" cy="369332"/>
          </a:xfrm>
        </p:spPr>
        <p:txBody>
          <a:bodyPr lIns="0" tIns="0" rIns="0" bIns="0"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200" b="1">
                <a:solidFill>
                  <a:schemeClr val="accent1"/>
                </a:solidFill>
                <a:latin typeface="+mn-lt"/>
                <a:sym typeface="+mn-lt"/>
              </a:defRPr>
            </a:lvl1pPr>
            <a:lvl2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200" b="0" baseline="0">
                <a:solidFill>
                  <a:schemeClr val="accent1"/>
                </a:solidFill>
                <a:latin typeface="+mn-lt"/>
                <a:sym typeface="+mn-lt"/>
              </a:defRPr>
            </a:lvl2pPr>
          </a:lstStyle>
          <a:p>
            <a:pPr lvl="0"/>
            <a:r>
              <a:rPr lang="en-US" dirty="0"/>
              <a:t>Heading 12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2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10" name="Title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gray">
          <a:xfrm>
            <a:off x="287453" y="1"/>
            <a:ext cx="11625600" cy="1011600"/>
          </a:xfrm>
          <a:prstGeom prst="rect">
            <a:avLst/>
          </a:prstGeom>
        </p:spPr>
        <p:txBody>
          <a:bodyPr anchor="b"/>
          <a:lstStyle/>
          <a:p>
            <a:pPr lvl="0"/>
            <a:r>
              <a:rPr lang="en-US" altLang="ja-JP"/>
              <a:t>Click to edit Master title style</a:t>
            </a:r>
            <a:endParaRPr lang="en-GB" dirty="0"/>
          </a:p>
        </p:txBody>
      </p:sp>
      <p:sp>
        <p:nvSpPr>
          <p:cNvPr id="9" name="Content"/>
          <p:cNvSpPr>
            <a:spLocks noGrp="1"/>
          </p:cNvSpPr>
          <p:nvPr>
            <p:ph idx="10" hasCustomPrompt="1"/>
          </p:nvPr>
        </p:nvSpPr>
        <p:spPr bwMode="gray">
          <a:xfrm>
            <a:off x="287453" y="6046048"/>
            <a:ext cx="11625600" cy="123111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en-US" sz="800" dirty="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/>
            </a:lvl6pPr>
            <a:lvl7pPr fontAlgn="base">
              <a:lnSpc>
                <a:spcPct val="100000"/>
              </a:lnSpc>
              <a:spcAft>
                <a:spcPts val="0"/>
              </a:spcAft>
              <a:defRPr/>
            </a:lvl7pPr>
            <a:lvl8pPr fontAlgn="base">
              <a:lnSpc>
                <a:spcPct val="100000"/>
              </a:lnSpc>
              <a:spcAft>
                <a:spcPts val="0"/>
              </a:spcAft>
              <a:defRPr/>
            </a:lvl8pPr>
            <a:lvl9pPr fontAlgn="base">
              <a:lnSpc>
                <a:spcPct val="100000"/>
              </a:lnSpc>
              <a:spcAft>
                <a:spcPts val="0"/>
              </a:spcAft>
              <a:defRPr/>
            </a:lvl9pPr>
          </a:lstStyle>
          <a:p>
            <a:pPr lvl="0"/>
            <a:r>
              <a:rPr lang="en-GB" dirty="0"/>
              <a:t>Source: </a:t>
            </a:r>
          </a:p>
        </p:txBody>
      </p:sp>
    </p:spTree>
    <p:extLst>
      <p:ext uri="{BB962C8B-B14F-4D97-AF65-F5344CB8AC3E}">
        <p14:creationId xmlns:p14="http://schemas.microsoft.com/office/powerpoint/2010/main" val="7809562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2/3 spl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Content Right"/>
          <p:cNvSpPr>
            <a:spLocks noGrp="1"/>
          </p:cNvSpPr>
          <p:nvPr>
            <p:ph idx="28"/>
          </p:nvPr>
        </p:nvSpPr>
        <p:spPr bwMode="gray">
          <a:xfrm>
            <a:off x="8313053" y="1882448"/>
            <a:ext cx="3600000" cy="4286711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sz="1200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 sz="1200"/>
            </a:lvl6pPr>
            <a:lvl7pPr fontAlgn="base">
              <a:lnSpc>
                <a:spcPct val="100000"/>
              </a:lnSpc>
              <a:spcAft>
                <a:spcPts val="0"/>
              </a:spcAft>
              <a:defRPr sz="1200"/>
            </a:lvl7pPr>
            <a:lvl8pPr fontAlgn="base">
              <a:lnSpc>
                <a:spcPct val="100000"/>
              </a:lnSpc>
              <a:spcAft>
                <a:spcPts val="0"/>
              </a:spcAft>
              <a:defRPr sz="1200"/>
            </a:lvl8pPr>
            <a:lvl9pPr fontAlgn="base">
              <a:lnSpc>
                <a:spcPct val="100000"/>
              </a:lnSpc>
              <a:spcAft>
                <a:spcPts val="0"/>
              </a:spcAft>
              <a:defRPr sz="1200"/>
            </a:lvl9pPr>
          </a:lstStyle>
          <a:p>
            <a:pPr lvl="0"/>
            <a:r>
              <a:rPr lang="en-US" altLang="ja-JP"/>
              <a:t>Click to edit Master text styles</a:t>
            </a:r>
          </a:p>
          <a:p>
            <a:pPr lvl="1"/>
            <a:r>
              <a:rPr lang="en-US" altLang="ja-JP"/>
              <a:t>Second level</a:t>
            </a:r>
          </a:p>
          <a:p>
            <a:pPr lvl="2"/>
            <a:r>
              <a:rPr lang="en-US" altLang="ja-JP"/>
              <a:t>Third level</a:t>
            </a:r>
          </a:p>
          <a:p>
            <a:pPr lvl="3"/>
            <a:r>
              <a:rPr lang="en-US" altLang="ja-JP"/>
              <a:t>Fourth level</a:t>
            </a:r>
          </a:p>
          <a:p>
            <a:pPr lvl="4"/>
            <a:r>
              <a:rPr lang="en-US" altLang="ja-JP"/>
              <a:t>Fifth level</a:t>
            </a:r>
            <a:endParaRPr lang="en-GB" dirty="0"/>
          </a:p>
        </p:txBody>
      </p:sp>
      <p:sp>
        <p:nvSpPr>
          <p:cNvPr id="19" name="Heading Right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8313053" y="1337514"/>
            <a:ext cx="3600000" cy="369332"/>
          </a:xfrm>
        </p:spPr>
        <p:txBody>
          <a:bodyPr lIns="0" tIns="0" rIns="0" bIns="0"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200" b="1">
                <a:solidFill>
                  <a:schemeClr val="accent1"/>
                </a:solidFill>
                <a:latin typeface="+mn-lt"/>
                <a:sym typeface="+mn-lt"/>
              </a:defRPr>
            </a:lvl1pPr>
            <a:lvl2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200">
                <a:solidFill>
                  <a:schemeClr val="accent1"/>
                </a:solidFill>
                <a:latin typeface="+mn-lt"/>
                <a:sym typeface="+mn-lt"/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Heading 12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2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8" name="Title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gray">
          <a:xfrm>
            <a:off x="287453" y="1"/>
            <a:ext cx="11625600" cy="1011600"/>
          </a:xfrm>
          <a:prstGeom prst="rect">
            <a:avLst/>
          </a:prstGeom>
        </p:spPr>
        <p:txBody>
          <a:bodyPr anchor="b"/>
          <a:lstStyle/>
          <a:p>
            <a:pPr lvl="0"/>
            <a:r>
              <a:rPr lang="en-US" altLang="ja-JP"/>
              <a:t>Click to edit Master title style</a:t>
            </a:r>
            <a:endParaRPr lang="en-GB" dirty="0"/>
          </a:p>
        </p:txBody>
      </p:sp>
      <p:sp>
        <p:nvSpPr>
          <p:cNvPr id="12" name="Content Middle"/>
          <p:cNvSpPr>
            <a:spLocks noGrp="1"/>
          </p:cNvSpPr>
          <p:nvPr>
            <p:ph idx="26"/>
          </p:nvPr>
        </p:nvSpPr>
        <p:spPr bwMode="gray">
          <a:xfrm>
            <a:off x="287454" y="1882448"/>
            <a:ext cx="7612799" cy="4286711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sz="1200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 sz="1200"/>
            </a:lvl6pPr>
            <a:lvl7pPr fontAlgn="base">
              <a:lnSpc>
                <a:spcPct val="100000"/>
              </a:lnSpc>
              <a:spcAft>
                <a:spcPts val="0"/>
              </a:spcAft>
              <a:defRPr sz="1200"/>
            </a:lvl7pPr>
            <a:lvl8pPr fontAlgn="base">
              <a:lnSpc>
                <a:spcPct val="100000"/>
              </a:lnSpc>
              <a:spcAft>
                <a:spcPts val="0"/>
              </a:spcAft>
              <a:defRPr sz="1200"/>
            </a:lvl8pPr>
            <a:lvl9pPr fontAlgn="base">
              <a:lnSpc>
                <a:spcPct val="100000"/>
              </a:lnSpc>
              <a:spcAft>
                <a:spcPts val="0"/>
              </a:spcAft>
              <a:defRPr sz="1200"/>
            </a:lvl9pPr>
          </a:lstStyle>
          <a:p>
            <a:pPr lvl="0"/>
            <a:r>
              <a:rPr lang="en-US" altLang="ja-JP"/>
              <a:t>Click to edit Master text styles</a:t>
            </a:r>
          </a:p>
          <a:p>
            <a:pPr lvl="1"/>
            <a:r>
              <a:rPr lang="en-US" altLang="ja-JP"/>
              <a:t>Second level</a:t>
            </a:r>
          </a:p>
          <a:p>
            <a:pPr lvl="2"/>
            <a:r>
              <a:rPr lang="en-US" altLang="ja-JP"/>
              <a:t>Third level</a:t>
            </a:r>
          </a:p>
          <a:p>
            <a:pPr lvl="3"/>
            <a:r>
              <a:rPr lang="en-US" altLang="ja-JP"/>
              <a:t>Fourth level</a:t>
            </a:r>
          </a:p>
          <a:p>
            <a:pPr lvl="4"/>
            <a:r>
              <a:rPr lang="en-US" altLang="ja-JP"/>
              <a:t>Fifth level</a:t>
            </a:r>
            <a:endParaRPr lang="en-GB" dirty="0"/>
          </a:p>
        </p:txBody>
      </p:sp>
      <p:sp>
        <p:nvSpPr>
          <p:cNvPr id="13" name="Heading Middle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87455" y="1337514"/>
            <a:ext cx="7612799" cy="369332"/>
          </a:xfrm>
        </p:spPr>
        <p:txBody>
          <a:bodyPr wrap="square" lIns="0" tIns="0" rIns="0" bIns="0"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200" b="1">
                <a:solidFill>
                  <a:schemeClr val="accent1"/>
                </a:solidFill>
                <a:latin typeface="+mn-lt"/>
                <a:sym typeface="+mn-lt"/>
              </a:defRPr>
            </a:lvl1pPr>
            <a:lvl2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200" b="0" baseline="0">
                <a:solidFill>
                  <a:schemeClr val="accent1"/>
                </a:solidFill>
                <a:latin typeface="+mn-lt"/>
                <a:sym typeface="+mn-lt"/>
              </a:defRPr>
            </a:lvl2pPr>
          </a:lstStyle>
          <a:p>
            <a:pPr lvl="0"/>
            <a:r>
              <a:rPr lang="en-US" dirty="0"/>
              <a:t>Heading 12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2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7" name="Content"/>
          <p:cNvSpPr>
            <a:spLocks noGrp="1"/>
          </p:cNvSpPr>
          <p:nvPr>
            <p:ph idx="10" hasCustomPrompt="1"/>
          </p:nvPr>
        </p:nvSpPr>
        <p:spPr bwMode="gray">
          <a:xfrm>
            <a:off x="287453" y="6046048"/>
            <a:ext cx="11625600" cy="123111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en-US" sz="800" dirty="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/>
            </a:lvl6pPr>
            <a:lvl7pPr fontAlgn="base">
              <a:lnSpc>
                <a:spcPct val="100000"/>
              </a:lnSpc>
              <a:spcAft>
                <a:spcPts val="0"/>
              </a:spcAft>
              <a:defRPr/>
            </a:lvl7pPr>
            <a:lvl8pPr fontAlgn="base">
              <a:lnSpc>
                <a:spcPct val="100000"/>
              </a:lnSpc>
              <a:spcAft>
                <a:spcPts val="0"/>
              </a:spcAft>
              <a:defRPr/>
            </a:lvl8pPr>
            <a:lvl9pPr fontAlgn="base">
              <a:lnSpc>
                <a:spcPct val="100000"/>
              </a:lnSpc>
              <a:spcAft>
                <a:spcPts val="0"/>
              </a:spcAft>
              <a:defRPr/>
            </a:lvl9pPr>
          </a:lstStyle>
          <a:p>
            <a:pPr lvl="0"/>
            <a:r>
              <a:rPr lang="en-GB" dirty="0"/>
              <a:t>Source: </a:t>
            </a:r>
          </a:p>
        </p:txBody>
      </p:sp>
    </p:spTree>
    <p:extLst>
      <p:ext uri="{BB962C8B-B14F-4D97-AF65-F5344CB8AC3E}">
        <p14:creationId xmlns:p14="http://schemas.microsoft.com/office/powerpoint/2010/main" val="3027751518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064636378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Gray Bar_Content+Table/Chart/Fig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/>
          <p:cNvSpPr/>
          <p:nvPr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Palatino Linotype" pitchFamily="18" charset="0"/>
            </a:endParaRPr>
          </a:p>
        </p:txBody>
      </p:sp>
      <p:cxnSp>
        <p:nvCxnSpPr>
          <p:cNvPr id="5" name="Straight Connector 4"/>
          <p:cNvCxnSpPr/>
          <p:nvPr/>
        </p:nvCxnSpPr>
        <p:spPr>
          <a:xfrm>
            <a:off x="304802" y="6250077"/>
            <a:ext cx="11592985" cy="0"/>
          </a:xfrm>
          <a:prstGeom prst="line">
            <a:avLst/>
          </a:prstGeom>
          <a:ln w="9525">
            <a:solidFill>
              <a:srgbClr val="555759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Text Placeholder 18"/>
          <p:cNvSpPr txBox="1">
            <a:spLocks/>
          </p:cNvSpPr>
          <p:nvPr userDrawn="1"/>
        </p:nvSpPr>
        <p:spPr>
          <a:xfrm>
            <a:off x="85344" y="6365442"/>
            <a:ext cx="585216" cy="231169"/>
          </a:xfrm>
          <a:prstGeom prst="rect">
            <a:avLst/>
          </a:prstGeom>
        </p:spPr>
        <p:txBody>
          <a:bodyPr vert="horz"/>
          <a:lstStyle>
            <a:lvl1pPr marL="0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 baseline="0">
                <a:solidFill>
                  <a:srgbClr val="898C8F"/>
                </a:solidFill>
                <a:latin typeface="+mj-lt"/>
                <a:ea typeface="+mn-ea"/>
                <a:cs typeface="+mn-cs"/>
              </a:defRPr>
            </a:lvl1pPr>
            <a:lvl2pPr marL="457178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2pPr>
            <a:lvl3pPr marL="914354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3pPr>
            <a:lvl4pPr marL="1371532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4pPr>
            <a:lvl5pPr marL="1828709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5pPr>
            <a:lvl6pPr marL="21748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6pPr>
            <a:lvl7pPr marL="26320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7pPr>
            <a:lvl8pPr marL="30892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8pPr>
            <a:lvl9pPr marL="35464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l"/>
            <a:fld id="{C0D4A90D-707C-4CFA-8F87-17CF45DE2B45}" type="slidenum">
              <a:rPr lang="en-US" sz="900" smtClean="0">
                <a:solidFill>
                  <a:srgbClr val="95D600"/>
                </a:solidFill>
              </a:rPr>
              <a:pPr algn="l"/>
              <a:t>‹#›</a:t>
            </a:fld>
            <a:endParaRPr lang="en-US" sz="900" dirty="0"/>
          </a:p>
        </p:txBody>
      </p:sp>
      <p:cxnSp>
        <p:nvCxnSpPr>
          <p:cNvPr id="7" name="Straight Connector 6"/>
          <p:cNvCxnSpPr/>
          <p:nvPr/>
        </p:nvCxnSpPr>
        <p:spPr bwMode="auto">
          <a:xfrm flipH="1">
            <a:off x="0" y="6302465"/>
            <a:ext cx="12192000" cy="0"/>
          </a:xfrm>
          <a:prstGeom prst="line">
            <a:avLst/>
          </a:prstGeom>
          <a:solidFill>
            <a:schemeClr val="accent1"/>
          </a:solidFill>
          <a:ln w="19050" cap="flat" cmpd="dbl" algn="ctr">
            <a:noFill/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0" name="Rectangle 9"/>
          <p:cNvSpPr/>
          <p:nvPr/>
        </p:nvSpPr>
        <p:spPr bwMode="auto">
          <a:xfrm>
            <a:off x="0" y="0"/>
            <a:ext cx="12192000" cy="1074396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Palatino Linotype" pitchFamily="18" charset="0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287453" y="1"/>
            <a:ext cx="11623035" cy="1011420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Rectangle 11"/>
          <p:cNvSpPr/>
          <p:nvPr/>
        </p:nvSpPr>
        <p:spPr bwMode="auto">
          <a:xfrm>
            <a:off x="0" y="1074396"/>
            <a:ext cx="12192000" cy="151354"/>
          </a:xfrm>
          <a:prstGeom prst="rect">
            <a:avLst/>
          </a:prstGeom>
          <a:solidFill>
            <a:schemeClr val="accent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Palatino Linotype" pitchFamily="18" charset="0"/>
            </a:endParaRPr>
          </a:p>
        </p:txBody>
      </p:sp>
      <p:sp>
        <p:nvSpPr>
          <p:cNvPr id="13" name="Rectangle 14"/>
          <p:cNvSpPr>
            <a:spLocks noGrp="1" noChangeArrowheads="1"/>
          </p:cNvSpPr>
          <p:nvPr>
            <p:ph idx="1"/>
          </p:nvPr>
        </p:nvSpPr>
        <p:spPr bwMode="auto">
          <a:xfrm>
            <a:off x="287453" y="1403684"/>
            <a:ext cx="11623035" cy="113385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10" hasCustomPrompt="1"/>
          </p:nvPr>
        </p:nvSpPr>
        <p:spPr>
          <a:xfrm>
            <a:off x="2075104" y="2627336"/>
            <a:ext cx="8056033" cy="431800"/>
          </a:xfrm>
        </p:spPr>
        <p:txBody>
          <a:bodyPr anchor="ctr"/>
          <a:lstStyle>
            <a:lvl1pPr marL="0" indent="0" algn="ctr">
              <a:buNone/>
              <a:defRPr sz="1600" b="1" baseline="0"/>
            </a:lvl1pPr>
          </a:lstStyle>
          <a:p>
            <a:pPr lvl="0"/>
            <a:r>
              <a:rPr lang="en-US" b="1" dirty="0"/>
              <a:t>Insert Table/Chart/Figure Title</a:t>
            </a:r>
            <a:endParaRPr lang="en-US" dirty="0"/>
          </a:p>
        </p:txBody>
      </p:sp>
      <p:sp>
        <p:nvSpPr>
          <p:cNvPr id="15" name="Content Placeholder 14"/>
          <p:cNvSpPr>
            <a:spLocks noGrp="1"/>
          </p:cNvSpPr>
          <p:nvPr>
            <p:ph sz="quarter" idx="11"/>
          </p:nvPr>
        </p:nvSpPr>
        <p:spPr>
          <a:xfrm>
            <a:off x="2854257" y="3148933"/>
            <a:ext cx="6470185" cy="2668917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ext Placeholder 16"/>
          <p:cNvSpPr>
            <a:spLocks noGrp="1"/>
          </p:cNvSpPr>
          <p:nvPr>
            <p:ph type="body" sz="quarter" idx="12" hasCustomPrompt="1"/>
          </p:nvPr>
        </p:nvSpPr>
        <p:spPr>
          <a:xfrm>
            <a:off x="2998603" y="5870237"/>
            <a:ext cx="2400300" cy="219075"/>
          </a:xfrm>
        </p:spPr>
        <p:txBody>
          <a:bodyPr anchor="ctr"/>
          <a:lstStyle>
            <a:lvl1pPr marL="0" indent="0">
              <a:buNone/>
              <a:defRPr sz="800" i="1" baseline="0">
                <a:solidFill>
                  <a:schemeClr val="accent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US" sz="800" i="1" dirty="0"/>
              <a:t>Insert source</a:t>
            </a:r>
            <a:endParaRPr lang="en-US" dirty="0"/>
          </a:p>
        </p:txBody>
      </p:sp>
      <p:sp>
        <p:nvSpPr>
          <p:cNvPr id="17" name="Text Placeholder 18"/>
          <p:cNvSpPr txBox="1">
            <a:spLocks/>
          </p:cNvSpPr>
          <p:nvPr userDrawn="1"/>
        </p:nvSpPr>
        <p:spPr>
          <a:xfrm>
            <a:off x="412682" y="6370117"/>
            <a:ext cx="7770501" cy="205345"/>
          </a:xfrm>
          <a:prstGeom prst="rect">
            <a:avLst/>
          </a:prstGeom>
        </p:spPr>
        <p:txBody>
          <a:bodyPr vert="horz"/>
          <a:lstStyle>
            <a:lvl1pPr marL="0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 baseline="0">
                <a:solidFill>
                  <a:srgbClr val="898C8F"/>
                </a:solidFill>
                <a:latin typeface="+mj-lt"/>
                <a:ea typeface="+mn-ea"/>
                <a:cs typeface="+mn-cs"/>
              </a:defRPr>
            </a:lvl1pPr>
            <a:lvl2pPr marL="457178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2pPr>
            <a:lvl3pPr marL="914354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3pPr>
            <a:lvl4pPr marL="1371532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4pPr>
            <a:lvl5pPr marL="1828709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5pPr>
            <a:lvl6pPr marL="21748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6pPr>
            <a:lvl7pPr marL="26320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7pPr>
            <a:lvl8pPr marL="30892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8pPr>
            <a:lvl9pPr marL="35464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 sz="900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/ </a:t>
            </a:r>
            <a:r>
              <a:rPr lang="en-US" sz="900" kern="1200" cap="all" normalizeH="0" baseline="0" dirty="0">
                <a:solidFill>
                  <a:schemeClr val="accent1">
                    <a:lumMod val="60000"/>
                    <a:lumOff val="40000"/>
                  </a:schemeClr>
                </a:solidFill>
                <a:latin typeface="+mj-lt"/>
                <a:ea typeface="+mn-ea"/>
                <a:cs typeface="+mn-cs"/>
              </a:rPr>
              <a:t>©ECOFYS, A Navigant – A </a:t>
            </a:r>
            <a:r>
              <a:rPr lang="en-US" sz="900" kern="1200" cap="all" normalizeH="0" baseline="0" dirty="0" err="1">
                <a:solidFill>
                  <a:schemeClr val="accent1">
                    <a:lumMod val="60000"/>
                    <a:lumOff val="40000"/>
                  </a:schemeClr>
                </a:solidFill>
                <a:latin typeface="+mj-lt"/>
                <a:ea typeface="+mn-ea"/>
                <a:cs typeface="+mn-cs"/>
              </a:rPr>
              <a:t>Guidehouse</a:t>
            </a:r>
            <a:r>
              <a:rPr lang="en-US" sz="900" kern="1200" cap="all" normalizeH="0" baseline="0" dirty="0">
                <a:solidFill>
                  <a:schemeClr val="accent1">
                    <a:lumMod val="60000"/>
                    <a:lumOff val="40000"/>
                  </a:schemeClr>
                </a:solidFill>
                <a:latin typeface="+mj-lt"/>
                <a:ea typeface="+mn-ea"/>
                <a:cs typeface="+mn-cs"/>
              </a:rPr>
              <a:t> Company Company</a:t>
            </a:r>
            <a:r>
              <a:rPr lang="en-US" sz="900" baseline="0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. All rights Reserved</a:t>
            </a:r>
            <a:endParaRPr lang="en-US" sz="900" dirty="0">
              <a:solidFill>
                <a:schemeClr val="accent1">
                  <a:lumMod val="60000"/>
                  <a:lumOff val="40000"/>
                </a:schemeClr>
              </a:solidFill>
            </a:endParaRPr>
          </a:p>
        </p:txBody>
      </p:sp>
      <p:pic>
        <p:nvPicPr>
          <p:cNvPr id="18" name="Picture 13" descr="Mission_Statement_RGB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71520" y="6418194"/>
            <a:ext cx="2726267" cy="123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024088562"/>
      </p:ext>
    </p:extLst>
  </p:cSld>
  <p:clrMapOvr>
    <a:masterClrMapping/>
  </p:clrMapOvr>
  <p:hf sldNum="0" hdr="0" dt="0"/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Only_Gray 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0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/>
          <p:cNvSpPr/>
          <p:nvPr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Palatino Linotype" pitchFamily="18" charset="0"/>
            </a:endParaRPr>
          </a:p>
        </p:txBody>
      </p:sp>
      <p:sp>
        <p:nvSpPr>
          <p:cNvPr id="4" name="Text Placeholder 18"/>
          <p:cNvSpPr txBox="1">
            <a:spLocks/>
          </p:cNvSpPr>
          <p:nvPr/>
        </p:nvSpPr>
        <p:spPr>
          <a:xfrm>
            <a:off x="412682" y="6370117"/>
            <a:ext cx="7770501" cy="205345"/>
          </a:xfrm>
          <a:prstGeom prst="rect">
            <a:avLst/>
          </a:prstGeom>
        </p:spPr>
        <p:txBody>
          <a:bodyPr vert="horz"/>
          <a:lstStyle>
            <a:lvl1pPr marL="0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 baseline="0">
                <a:solidFill>
                  <a:srgbClr val="898C8F"/>
                </a:solidFill>
                <a:latin typeface="+mj-lt"/>
                <a:ea typeface="+mn-ea"/>
                <a:cs typeface="+mn-cs"/>
              </a:defRPr>
            </a:lvl1pPr>
            <a:lvl2pPr marL="457178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2pPr>
            <a:lvl3pPr marL="914354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3pPr>
            <a:lvl4pPr marL="1371532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4pPr>
            <a:lvl5pPr marL="1828709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5pPr>
            <a:lvl6pPr marL="21748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6pPr>
            <a:lvl7pPr marL="26320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7pPr>
            <a:lvl8pPr marL="30892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8pPr>
            <a:lvl9pPr marL="35464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 sz="900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/ </a:t>
            </a:r>
            <a:r>
              <a:rPr lang="en-US" sz="900" kern="1200" cap="all" normalizeH="0" baseline="0" dirty="0">
                <a:solidFill>
                  <a:schemeClr val="accent1">
                    <a:lumMod val="60000"/>
                    <a:lumOff val="40000"/>
                  </a:schemeClr>
                </a:solidFill>
                <a:latin typeface="+mj-lt"/>
                <a:ea typeface="+mn-ea"/>
                <a:cs typeface="+mn-cs"/>
              </a:rPr>
              <a:t>©2016 </a:t>
            </a:r>
            <a:r>
              <a:rPr lang="en-US" sz="900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Navigant – A </a:t>
            </a:r>
            <a:r>
              <a:rPr lang="en-US" sz="900" dirty="0" err="1">
                <a:solidFill>
                  <a:schemeClr val="accent1">
                    <a:lumMod val="60000"/>
                    <a:lumOff val="40000"/>
                  </a:schemeClr>
                </a:solidFill>
              </a:rPr>
              <a:t>Guidehouse</a:t>
            </a:r>
            <a:r>
              <a:rPr lang="en-US" sz="900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 Company Consulting,</a:t>
            </a:r>
            <a:r>
              <a:rPr lang="en-US" sz="900" baseline="0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 Inc. All rights Reserved</a:t>
            </a:r>
            <a:endParaRPr lang="en-US" sz="900" dirty="0">
              <a:solidFill>
                <a:schemeClr val="accent1">
                  <a:lumMod val="60000"/>
                  <a:lumOff val="40000"/>
                </a:schemeClr>
              </a:solidFill>
            </a:endParaRPr>
          </a:p>
        </p:txBody>
      </p:sp>
      <p:cxnSp>
        <p:nvCxnSpPr>
          <p:cNvPr id="5" name="Straight Connector 4"/>
          <p:cNvCxnSpPr/>
          <p:nvPr/>
        </p:nvCxnSpPr>
        <p:spPr>
          <a:xfrm>
            <a:off x="304802" y="6250077"/>
            <a:ext cx="11592985" cy="0"/>
          </a:xfrm>
          <a:prstGeom prst="line">
            <a:avLst/>
          </a:prstGeom>
          <a:ln w="9525">
            <a:solidFill>
              <a:srgbClr val="555759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Text Placeholder 18"/>
          <p:cNvSpPr txBox="1">
            <a:spLocks/>
          </p:cNvSpPr>
          <p:nvPr/>
        </p:nvSpPr>
        <p:spPr>
          <a:xfrm>
            <a:off x="85344" y="6365442"/>
            <a:ext cx="585216" cy="231169"/>
          </a:xfrm>
          <a:prstGeom prst="rect">
            <a:avLst/>
          </a:prstGeom>
        </p:spPr>
        <p:txBody>
          <a:bodyPr vert="horz"/>
          <a:lstStyle>
            <a:lvl1pPr marL="0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 baseline="0">
                <a:solidFill>
                  <a:srgbClr val="898C8F"/>
                </a:solidFill>
                <a:latin typeface="+mj-lt"/>
                <a:ea typeface="+mn-ea"/>
                <a:cs typeface="+mn-cs"/>
              </a:defRPr>
            </a:lvl1pPr>
            <a:lvl2pPr marL="457178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2pPr>
            <a:lvl3pPr marL="914354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3pPr>
            <a:lvl4pPr marL="1371532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4pPr>
            <a:lvl5pPr marL="1828709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5pPr>
            <a:lvl6pPr marL="21748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6pPr>
            <a:lvl7pPr marL="26320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7pPr>
            <a:lvl8pPr marL="30892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8pPr>
            <a:lvl9pPr marL="35464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l"/>
            <a:fld id="{C0D4A90D-707C-4CFA-8F87-17CF45DE2B45}" type="slidenum">
              <a:rPr lang="en-US" sz="900" smtClean="0">
                <a:solidFill>
                  <a:srgbClr val="95D600"/>
                </a:solidFill>
              </a:rPr>
              <a:pPr algn="l"/>
              <a:t>‹#›</a:t>
            </a:fld>
            <a:endParaRPr lang="en-US" sz="900" dirty="0"/>
          </a:p>
        </p:txBody>
      </p:sp>
      <p:cxnSp>
        <p:nvCxnSpPr>
          <p:cNvPr id="7" name="Straight Connector 6"/>
          <p:cNvCxnSpPr/>
          <p:nvPr/>
        </p:nvCxnSpPr>
        <p:spPr bwMode="auto">
          <a:xfrm flipH="1">
            <a:off x="0" y="6302465"/>
            <a:ext cx="12192000" cy="0"/>
          </a:xfrm>
          <a:prstGeom prst="line">
            <a:avLst/>
          </a:prstGeom>
          <a:solidFill>
            <a:schemeClr val="accent1"/>
          </a:solidFill>
          <a:ln w="19050" cap="flat" cmpd="dbl" algn="ctr">
            <a:noFill/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8" name="Picture 7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07280" y="6400190"/>
            <a:ext cx="1303209" cy="168518"/>
          </a:xfrm>
          <a:prstGeom prst="rect">
            <a:avLst/>
          </a:prstGeom>
        </p:spPr>
      </p:pic>
      <p:sp>
        <p:nvSpPr>
          <p:cNvPr id="10" name="Rectangle 9"/>
          <p:cNvSpPr/>
          <p:nvPr/>
        </p:nvSpPr>
        <p:spPr bwMode="auto">
          <a:xfrm>
            <a:off x="0" y="0"/>
            <a:ext cx="12192000" cy="1074396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Palatino Linotype" pitchFamily="18" charset="0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287453" y="1"/>
            <a:ext cx="11623035" cy="1011420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Rectangle 11"/>
          <p:cNvSpPr/>
          <p:nvPr/>
        </p:nvSpPr>
        <p:spPr bwMode="auto">
          <a:xfrm>
            <a:off x="0" y="1074396"/>
            <a:ext cx="12192000" cy="151354"/>
          </a:xfrm>
          <a:prstGeom prst="rect">
            <a:avLst/>
          </a:prstGeom>
          <a:solidFill>
            <a:schemeClr val="accent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Palatino Linotype" pitchFamily="18" charset="0"/>
            </a:endParaRPr>
          </a:p>
        </p:txBody>
      </p:sp>
      <p:sp>
        <p:nvSpPr>
          <p:cNvPr id="13" name="Rectangle 12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Palatino Linotype" pitchFamily="18" charset="0"/>
            </a:endParaRPr>
          </a:p>
        </p:txBody>
      </p:sp>
      <p:cxnSp>
        <p:nvCxnSpPr>
          <p:cNvPr id="15" name="Straight Connector 14"/>
          <p:cNvCxnSpPr/>
          <p:nvPr userDrawn="1"/>
        </p:nvCxnSpPr>
        <p:spPr>
          <a:xfrm>
            <a:off x="304802" y="6250077"/>
            <a:ext cx="11592985" cy="0"/>
          </a:xfrm>
          <a:prstGeom prst="line">
            <a:avLst/>
          </a:prstGeom>
          <a:ln w="9525">
            <a:solidFill>
              <a:srgbClr val="555759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6" name="Text Placeholder 18"/>
          <p:cNvSpPr txBox="1">
            <a:spLocks/>
          </p:cNvSpPr>
          <p:nvPr userDrawn="1"/>
        </p:nvSpPr>
        <p:spPr>
          <a:xfrm>
            <a:off x="182020" y="6365442"/>
            <a:ext cx="478315" cy="231169"/>
          </a:xfrm>
          <a:prstGeom prst="rect">
            <a:avLst/>
          </a:prstGeom>
        </p:spPr>
        <p:txBody>
          <a:bodyPr vert="horz"/>
          <a:lstStyle>
            <a:lvl1pPr marL="0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 baseline="0">
                <a:solidFill>
                  <a:srgbClr val="898C8F"/>
                </a:solidFill>
                <a:latin typeface="+mj-lt"/>
                <a:ea typeface="+mn-ea"/>
                <a:cs typeface="+mn-cs"/>
              </a:defRPr>
            </a:lvl1pPr>
            <a:lvl2pPr marL="457178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2pPr>
            <a:lvl3pPr marL="914354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3pPr>
            <a:lvl4pPr marL="1371532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4pPr>
            <a:lvl5pPr marL="1828709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5pPr>
            <a:lvl6pPr marL="21748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6pPr>
            <a:lvl7pPr marL="26320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7pPr>
            <a:lvl8pPr marL="30892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8pPr>
            <a:lvl9pPr marL="35464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l"/>
            <a:fld id="{C0D4A90D-707C-4CFA-8F87-17CF45DE2B45}" type="slidenum">
              <a:rPr lang="en-US" sz="900" smtClean="0">
                <a:solidFill>
                  <a:srgbClr val="95D600"/>
                </a:solidFill>
              </a:rPr>
              <a:pPr algn="l"/>
              <a:t>‹#›</a:t>
            </a:fld>
            <a:endParaRPr lang="en-US" sz="900" dirty="0"/>
          </a:p>
        </p:txBody>
      </p:sp>
      <p:cxnSp>
        <p:nvCxnSpPr>
          <p:cNvPr id="17" name="Straight Connector 16"/>
          <p:cNvCxnSpPr/>
          <p:nvPr userDrawn="1"/>
        </p:nvCxnSpPr>
        <p:spPr bwMode="auto">
          <a:xfrm flipH="1">
            <a:off x="0" y="6302465"/>
            <a:ext cx="12192000" cy="0"/>
          </a:xfrm>
          <a:prstGeom prst="line">
            <a:avLst/>
          </a:prstGeom>
          <a:solidFill>
            <a:schemeClr val="accent1"/>
          </a:solidFill>
          <a:ln w="19050" cap="flat" cmpd="dbl" algn="ctr">
            <a:noFill/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9" name="Rectangle 18"/>
          <p:cNvSpPr/>
          <p:nvPr userDrawn="1"/>
        </p:nvSpPr>
        <p:spPr bwMode="auto">
          <a:xfrm>
            <a:off x="0" y="0"/>
            <a:ext cx="12192000" cy="1074396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Palatino Linotype" pitchFamily="18" charset="0"/>
            </a:endParaRPr>
          </a:p>
        </p:txBody>
      </p:sp>
      <p:sp>
        <p:nvSpPr>
          <p:cNvPr id="20" name="Rectangle 19"/>
          <p:cNvSpPr/>
          <p:nvPr userDrawn="1"/>
        </p:nvSpPr>
        <p:spPr bwMode="auto">
          <a:xfrm>
            <a:off x="0" y="1074396"/>
            <a:ext cx="12192000" cy="151354"/>
          </a:xfrm>
          <a:prstGeom prst="rect">
            <a:avLst/>
          </a:prstGeom>
          <a:solidFill>
            <a:schemeClr val="accent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Palatino Linotype" pitchFamily="18" charset="0"/>
            </a:endParaRPr>
          </a:p>
        </p:txBody>
      </p:sp>
      <p:sp>
        <p:nvSpPr>
          <p:cNvPr id="21" name="Text Placeholder 18"/>
          <p:cNvSpPr txBox="1">
            <a:spLocks/>
          </p:cNvSpPr>
          <p:nvPr userDrawn="1"/>
        </p:nvSpPr>
        <p:spPr>
          <a:xfrm>
            <a:off x="412682" y="6370117"/>
            <a:ext cx="7770501" cy="205345"/>
          </a:xfrm>
          <a:prstGeom prst="rect">
            <a:avLst/>
          </a:prstGeom>
        </p:spPr>
        <p:txBody>
          <a:bodyPr vert="horz"/>
          <a:lstStyle>
            <a:lvl1pPr marL="0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 baseline="0">
                <a:solidFill>
                  <a:srgbClr val="898C8F"/>
                </a:solidFill>
                <a:latin typeface="+mj-lt"/>
                <a:ea typeface="+mn-ea"/>
                <a:cs typeface="+mn-cs"/>
              </a:defRPr>
            </a:lvl1pPr>
            <a:lvl2pPr marL="457178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2pPr>
            <a:lvl3pPr marL="914354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3pPr>
            <a:lvl4pPr marL="1371532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4pPr>
            <a:lvl5pPr marL="1828709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5pPr>
            <a:lvl6pPr marL="21748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6pPr>
            <a:lvl7pPr marL="26320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7pPr>
            <a:lvl8pPr marL="30892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8pPr>
            <a:lvl9pPr marL="35464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 sz="900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/ </a:t>
            </a:r>
            <a:r>
              <a:rPr lang="en-US" sz="900" kern="1200" cap="all" normalizeH="0" baseline="0" dirty="0">
                <a:solidFill>
                  <a:schemeClr val="accent1">
                    <a:lumMod val="60000"/>
                    <a:lumOff val="40000"/>
                  </a:schemeClr>
                </a:solidFill>
                <a:latin typeface="+mj-lt"/>
                <a:ea typeface="+mn-ea"/>
                <a:cs typeface="+mn-cs"/>
              </a:rPr>
              <a:t>©ECOFYS, A Navigant – A </a:t>
            </a:r>
            <a:r>
              <a:rPr lang="en-US" sz="900" kern="1200" cap="all" normalizeH="0" baseline="0" dirty="0" err="1">
                <a:solidFill>
                  <a:schemeClr val="accent1">
                    <a:lumMod val="60000"/>
                    <a:lumOff val="40000"/>
                  </a:schemeClr>
                </a:solidFill>
                <a:latin typeface="+mj-lt"/>
                <a:ea typeface="+mn-ea"/>
                <a:cs typeface="+mn-cs"/>
              </a:rPr>
              <a:t>Guidehouse</a:t>
            </a:r>
            <a:r>
              <a:rPr lang="en-US" sz="900" kern="1200" cap="all" normalizeH="0" baseline="0" dirty="0">
                <a:solidFill>
                  <a:schemeClr val="accent1">
                    <a:lumMod val="60000"/>
                    <a:lumOff val="40000"/>
                  </a:schemeClr>
                </a:solidFill>
                <a:latin typeface="+mj-lt"/>
                <a:ea typeface="+mn-ea"/>
                <a:cs typeface="+mn-cs"/>
              </a:rPr>
              <a:t> Company Company</a:t>
            </a:r>
            <a:r>
              <a:rPr lang="en-US" sz="900" baseline="0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. All rights Reserved</a:t>
            </a:r>
            <a:endParaRPr lang="en-US" sz="900" dirty="0">
              <a:solidFill>
                <a:schemeClr val="accent1">
                  <a:lumMod val="60000"/>
                  <a:lumOff val="40000"/>
                </a:schemeClr>
              </a:solidFill>
            </a:endParaRPr>
          </a:p>
        </p:txBody>
      </p:sp>
      <p:pic>
        <p:nvPicPr>
          <p:cNvPr id="22" name="Picture 13" descr="Mission_Statement_RGB"/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71520" y="6418194"/>
            <a:ext cx="2726267" cy="123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978779547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1396" y="3692"/>
            <a:ext cx="12201685" cy="685430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9" name="Freeform 8"/>
          <p:cNvSpPr/>
          <p:nvPr userDrawn="1"/>
        </p:nvSpPr>
        <p:spPr>
          <a:xfrm>
            <a:off x="-11936" y="-3148"/>
            <a:ext cx="11931119" cy="6867762"/>
          </a:xfrm>
          <a:custGeom>
            <a:avLst/>
            <a:gdLst>
              <a:gd name="connsiteX0" fmla="*/ 1643975 w 8501975"/>
              <a:gd name="connsiteY0" fmla="*/ 0 h 5175115"/>
              <a:gd name="connsiteX1" fmla="*/ 8501975 w 8501975"/>
              <a:gd name="connsiteY1" fmla="*/ 19455 h 5175115"/>
              <a:gd name="connsiteX2" fmla="*/ 4289898 w 8501975"/>
              <a:gd name="connsiteY2" fmla="*/ 5175115 h 5175115"/>
              <a:gd name="connsiteX3" fmla="*/ 0 w 8501975"/>
              <a:gd name="connsiteY3" fmla="*/ 5175115 h 5175115"/>
              <a:gd name="connsiteX4" fmla="*/ 0 w 8501975"/>
              <a:gd name="connsiteY4" fmla="*/ 4027251 h 5175115"/>
              <a:gd name="connsiteX5" fmla="*/ 1643975 w 8501975"/>
              <a:gd name="connsiteY5" fmla="*/ 0 h 5175115"/>
              <a:gd name="connsiteX0" fmla="*/ 1649126 w 8507126"/>
              <a:gd name="connsiteY0" fmla="*/ 0 h 5175115"/>
              <a:gd name="connsiteX1" fmla="*/ 8507126 w 8507126"/>
              <a:gd name="connsiteY1" fmla="*/ 19455 h 5175115"/>
              <a:gd name="connsiteX2" fmla="*/ 4295049 w 8507126"/>
              <a:gd name="connsiteY2" fmla="*/ 5175115 h 5175115"/>
              <a:gd name="connsiteX3" fmla="*/ 5151 w 8507126"/>
              <a:gd name="connsiteY3" fmla="*/ 5175115 h 5175115"/>
              <a:gd name="connsiteX4" fmla="*/ 0 w 8507126"/>
              <a:gd name="connsiteY4" fmla="*/ 4037554 h 5175115"/>
              <a:gd name="connsiteX5" fmla="*/ 1649126 w 8507126"/>
              <a:gd name="connsiteY5" fmla="*/ 0 h 5175115"/>
              <a:gd name="connsiteX0" fmla="*/ 1649127 w 8507127"/>
              <a:gd name="connsiteY0" fmla="*/ 0 h 5175115"/>
              <a:gd name="connsiteX1" fmla="*/ 8507127 w 8507127"/>
              <a:gd name="connsiteY1" fmla="*/ 19455 h 5175115"/>
              <a:gd name="connsiteX2" fmla="*/ 4295050 w 8507127"/>
              <a:gd name="connsiteY2" fmla="*/ 5175115 h 5175115"/>
              <a:gd name="connsiteX3" fmla="*/ 0 w 8507127"/>
              <a:gd name="connsiteY3" fmla="*/ 5175115 h 5175115"/>
              <a:gd name="connsiteX4" fmla="*/ 1 w 8507127"/>
              <a:gd name="connsiteY4" fmla="*/ 4037554 h 5175115"/>
              <a:gd name="connsiteX5" fmla="*/ 1649127 w 8507127"/>
              <a:gd name="connsiteY5" fmla="*/ 0 h 5175115"/>
              <a:gd name="connsiteX0" fmla="*/ 1690339 w 8507127"/>
              <a:gd name="connsiteY0" fmla="*/ 34637 h 5155660"/>
              <a:gd name="connsiteX1" fmla="*/ 8507127 w 8507127"/>
              <a:gd name="connsiteY1" fmla="*/ 0 h 5155660"/>
              <a:gd name="connsiteX2" fmla="*/ 4295050 w 8507127"/>
              <a:gd name="connsiteY2" fmla="*/ 5155660 h 5155660"/>
              <a:gd name="connsiteX3" fmla="*/ 0 w 8507127"/>
              <a:gd name="connsiteY3" fmla="*/ 5155660 h 5155660"/>
              <a:gd name="connsiteX4" fmla="*/ 1 w 8507127"/>
              <a:gd name="connsiteY4" fmla="*/ 4018099 h 5155660"/>
              <a:gd name="connsiteX5" fmla="*/ 1690339 w 8507127"/>
              <a:gd name="connsiteY5" fmla="*/ 34637 h 5155660"/>
              <a:gd name="connsiteX0" fmla="*/ 1651702 w 8507127"/>
              <a:gd name="connsiteY0" fmla="*/ 0 h 5157084"/>
              <a:gd name="connsiteX1" fmla="*/ 8507127 w 8507127"/>
              <a:gd name="connsiteY1" fmla="*/ 1424 h 5157084"/>
              <a:gd name="connsiteX2" fmla="*/ 4295050 w 8507127"/>
              <a:gd name="connsiteY2" fmla="*/ 5157084 h 5157084"/>
              <a:gd name="connsiteX3" fmla="*/ 0 w 8507127"/>
              <a:gd name="connsiteY3" fmla="*/ 5157084 h 5157084"/>
              <a:gd name="connsiteX4" fmla="*/ 1 w 8507127"/>
              <a:gd name="connsiteY4" fmla="*/ 4019523 h 5157084"/>
              <a:gd name="connsiteX5" fmla="*/ 1651702 w 8507127"/>
              <a:gd name="connsiteY5" fmla="*/ 0 h 5157084"/>
              <a:gd name="connsiteX0" fmla="*/ 1651702 w 8507127"/>
              <a:gd name="connsiteY0" fmla="*/ 0 h 5157084"/>
              <a:gd name="connsiteX1" fmla="*/ 8507127 w 8507127"/>
              <a:gd name="connsiteY1" fmla="*/ 1424 h 5157084"/>
              <a:gd name="connsiteX2" fmla="*/ 4295050 w 8507127"/>
              <a:gd name="connsiteY2" fmla="*/ 5157084 h 5157084"/>
              <a:gd name="connsiteX3" fmla="*/ 0 w 8507127"/>
              <a:gd name="connsiteY3" fmla="*/ 5157084 h 5157084"/>
              <a:gd name="connsiteX4" fmla="*/ 46365 w 8507127"/>
              <a:gd name="connsiteY4" fmla="*/ 4006644 h 5157084"/>
              <a:gd name="connsiteX5" fmla="*/ 1651702 w 8507127"/>
              <a:gd name="connsiteY5" fmla="*/ 0 h 5157084"/>
              <a:gd name="connsiteX0" fmla="*/ 1651702 w 8507127"/>
              <a:gd name="connsiteY0" fmla="*/ 0 h 5157084"/>
              <a:gd name="connsiteX1" fmla="*/ 8507127 w 8507127"/>
              <a:gd name="connsiteY1" fmla="*/ 1424 h 5157084"/>
              <a:gd name="connsiteX2" fmla="*/ 4295050 w 8507127"/>
              <a:gd name="connsiteY2" fmla="*/ 5157084 h 5157084"/>
              <a:gd name="connsiteX3" fmla="*/ 0 w 8507127"/>
              <a:gd name="connsiteY3" fmla="*/ 5157084 h 5157084"/>
              <a:gd name="connsiteX4" fmla="*/ 15455 w 8507127"/>
              <a:gd name="connsiteY4" fmla="*/ 3973159 h 5157084"/>
              <a:gd name="connsiteX5" fmla="*/ 1651702 w 8507127"/>
              <a:gd name="connsiteY5" fmla="*/ 0 h 5157084"/>
              <a:gd name="connsiteX0" fmla="*/ 1636247 w 8491672"/>
              <a:gd name="connsiteY0" fmla="*/ 0 h 5157084"/>
              <a:gd name="connsiteX1" fmla="*/ 8491672 w 8491672"/>
              <a:gd name="connsiteY1" fmla="*/ 1424 h 5157084"/>
              <a:gd name="connsiteX2" fmla="*/ 4279595 w 8491672"/>
              <a:gd name="connsiteY2" fmla="*/ 5157084 h 5157084"/>
              <a:gd name="connsiteX3" fmla="*/ 64394 w 8491672"/>
              <a:gd name="connsiteY3" fmla="*/ 5157084 h 5157084"/>
              <a:gd name="connsiteX4" fmla="*/ 0 w 8491672"/>
              <a:gd name="connsiteY4" fmla="*/ 3973159 h 5157084"/>
              <a:gd name="connsiteX5" fmla="*/ 1636247 w 8491672"/>
              <a:gd name="connsiteY5" fmla="*/ 0 h 5157084"/>
              <a:gd name="connsiteX0" fmla="*/ 1638823 w 8494248"/>
              <a:gd name="connsiteY0" fmla="*/ 0 h 5157084"/>
              <a:gd name="connsiteX1" fmla="*/ 8494248 w 8494248"/>
              <a:gd name="connsiteY1" fmla="*/ 1424 h 5157084"/>
              <a:gd name="connsiteX2" fmla="*/ 4282171 w 8494248"/>
              <a:gd name="connsiteY2" fmla="*/ 5157084 h 5157084"/>
              <a:gd name="connsiteX3" fmla="*/ 0 w 8494248"/>
              <a:gd name="connsiteY3" fmla="*/ 5157084 h 5157084"/>
              <a:gd name="connsiteX4" fmla="*/ 2576 w 8494248"/>
              <a:gd name="connsiteY4" fmla="*/ 3973159 h 5157084"/>
              <a:gd name="connsiteX5" fmla="*/ 1638823 w 8494248"/>
              <a:gd name="connsiteY5" fmla="*/ 0 h 5157084"/>
              <a:gd name="connsiteX0" fmla="*/ 1638823 w 8494248"/>
              <a:gd name="connsiteY0" fmla="*/ 0 h 5157084"/>
              <a:gd name="connsiteX1" fmla="*/ 8494248 w 8494248"/>
              <a:gd name="connsiteY1" fmla="*/ 1424 h 5157084"/>
              <a:gd name="connsiteX2" fmla="*/ 4282171 w 8494248"/>
              <a:gd name="connsiteY2" fmla="*/ 5157084 h 5157084"/>
              <a:gd name="connsiteX3" fmla="*/ 0 w 8494248"/>
              <a:gd name="connsiteY3" fmla="*/ 5157084 h 5157084"/>
              <a:gd name="connsiteX4" fmla="*/ 38637 w 8494248"/>
              <a:gd name="connsiteY4" fmla="*/ 4029826 h 5157084"/>
              <a:gd name="connsiteX5" fmla="*/ 1638823 w 8494248"/>
              <a:gd name="connsiteY5" fmla="*/ 0 h 5157084"/>
              <a:gd name="connsiteX0" fmla="*/ 1641398 w 8496823"/>
              <a:gd name="connsiteY0" fmla="*/ 0 h 5157084"/>
              <a:gd name="connsiteX1" fmla="*/ 8496823 w 8496823"/>
              <a:gd name="connsiteY1" fmla="*/ 1424 h 5157084"/>
              <a:gd name="connsiteX2" fmla="*/ 4284746 w 8496823"/>
              <a:gd name="connsiteY2" fmla="*/ 5157084 h 5157084"/>
              <a:gd name="connsiteX3" fmla="*/ 2575 w 8496823"/>
              <a:gd name="connsiteY3" fmla="*/ 5157084 h 5157084"/>
              <a:gd name="connsiteX4" fmla="*/ 0 w 8496823"/>
              <a:gd name="connsiteY4" fmla="*/ 3983462 h 5157084"/>
              <a:gd name="connsiteX5" fmla="*/ 1641398 w 8496823"/>
              <a:gd name="connsiteY5" fmla="*/ 0 h 5157084"/>
              <a:gd name="connsiteX0" fmla="*/ 1638256 w 8496823"/>
              <a:gd name="connsiteY0" fmla="*/ 0 h 5157084"/>
              <a:gd name="connsiteX1" fmla="*/ 8496823 w 8496823"/>
              <a:gd name="connsiteY1" fmla="*/ 1424 h 5157084"/>
              <a:gd name="connsiteX2" fmla="*/ 4284746 w 8496823"/>
              <a:gd name="connsiteY2" fmla="*/ 5157084 h 5157084"/>
              <a:gd name="connsiteX3" fmla="*/ 2575 w 8496823"/>
              <a:gd name="connsiteY3" fmla="*/ 5157084 h 5157084"/>
              <a:gd name="connsiteX4" fmla="*/ 0 w 8496823"/>
              <a:gd name="connsiteY4" fmla="*/ 3983462 h 5157084"/>
              <a:gd name="connsiteX5" fmla="*/ 1638256 w 8496823"/>
              <a:gd name="connsiteY5" fmla="*/ 0 h 5157084"/>
              <a:gd name="connsiteX0" fmla="*/ 1638256 w 8496823"/>
              <a:gd name="connsiteY0" fmla="*/ 0 h 6846184"/>
              <a:gd name="connsiteX1" fmla="*/ 8496823 w 8496823"/>
              <a:gd name="connsiteY1" fmla="*/ 1424 h 6846184"/>
              <a:gd name="connsiteX2" fmla="*/ 2900446 w 8496823"/>
              <a:gd name="connsiteY2" fmla="*/ 6846184 h 6846184"/>
              <a:gd name="connsiteX3" fmla="*/ 2575 w 8496823"/>
              <a:gd name="connsiteY3" fmla="*/ 5157084 h 6846184"/>
              <a:gd name="connsiteX4" fmla="*/ 0 w 8496823"/>
              <a:gd name="connsiteY4" fmla="*/ 3983462 h 6846184"/>
              <a:gd name="connsiteX5" fmla="*/ 1638256 w 8496823"/>
              <a:gd name="connsiteY5" fmla="*/ 0 h 6846184"/>
              <a:gd name="connsiteX0" fmla="*/ 1648381 w 8506948"/>
              <a:gd name="connsiteY0" fmla="*/ 0 h 6858884"/>
              <a:gd name="connsiteX1" fmla="*/ 8506948 w 8506948"/>
              <a:gd name="connsiteY1" fmla="*/ 1424 h 6858884"/>
              <a:gd name="connsiteX2" fmla="*/ 2910571 w 8506948"/>
              <a:gd name="connsiteY2" fmla="*/ 6846184 h 6858884"/>
              <a:gd name="connsiteX3" fmla="*/ 0 w 8506948"/>
              <a:gd name="connsiteY3" fmla="*/ 6858884 h 6858884"/>
              <a:gd name="connsiteX4" fmla="*/ 10125 w 8506948"/>
              <a:gd name="connsiteY4" fmla="*/ 3983462 h 6858884"/>
              <a:gd name="connsiteX5" fmla="*/ 1648381 w 8506948"/>
              <a:gd name="connsiteY5" fmla="*/ 0 h 6858884"/>
              <a:gd name="connsiteX0" fmla="*/ 1597581 w 8506948"/>
              <a:gd name="connsiteY0" fmla="*/ 0 h 6858884"/>
              <a:gd name="connsiteX1" fmla="*/ 8506948 w 8506948"/>
              <a:gd name="connsiteY1" fmla="*/ 1424 h 6858884"/>
              <a:gd name="connsiteX2" fmla="*/ 2910571 w 8506948"/>
              <a:gd name="connsiteY2" fmla="*/ 6846184 h 6858884"/>
              <a:gd name="connsiteX3" fmla="*/ 0 w 8506948"/>
              <a:gd name="connsiteY3" fmla="*/ 6858884 h 6858884"/>
              <a:gd name="connsiteX4" fmla="*/ 10125 w 8506948"/>
              <a:gd name="connsiteY4" fmla="*/ 3983462 h 6858884"/>
              <a:gd name="connsiteX5" fmla="*/ 1597581 w 8506948"/>
              <a:gd name="connsiteY5" fmla="*/ 0 h 6858884"/>
              <a:gd name="connsiteX0" fmla="*/ 2083733 w 8993100"/>
              <a:gd name="connsiteY0" fmla="*/ 0 h 6858884"/>
              <a:gd name="connsiteX1" fmla="*/ 8993100 w 8993100"/>
              <a:gd name="connsiteY1" fmla="*/ 1424 h 6858884"/>
              <a:gd name="connsiteX2" fmla="*/ 3396723 w 8993100"/>
              <a:gd name="connsiteY2" fmla="*/ 6846184 h 6858884"/>
              <a:gd name="connsiteX3" fmla="*/ 486152 w 8993100"/>
              <a:gd name="connsiteY3" fmla="*/ 6858884 h 6858884"/>
              <a:gd name="connsiteX4" fmla="*/ 0 w 8993100"/>
              <a:gd name="connsiteY4" fmla="*/ 5136231 h 6858884"/>
              <a:gd name="connsiteX5" fmla="*/ 2083733 w 8993100"/>
              <a:gd name="connsiteY5" fmla="*/ 0 h 6858884"/>
              <a:gd name="connsiteX0" fmla="*/ 2083733 w 8993100"/>
              <a:gd name="connsiteY0" fmla="*/ 0 h 6862792"/>
              <a:gd name="connsiteX1" fmla="*/ 8993100 w 8993100"/>
              <a:gd name="connsiteY1" fmla="*/ 1424 h 6862792"/>
              <a:gd name="connsiteX2" fmla="*/ 3396723 w 8993100"/>
              <a:gd name="connsiteY2" fmla="*/ 6846184 h 6862792"/>
              <a:gd name="connsiteX3" fmla="*/ 9413 w 8993100"/>
              <a:gd name="connsiteY3" fmla="*/ 6862792 h 6862792"/>
              <a:gd name="connsiteX4" fmla="*/ 0 w 8993100"/>
              <a:gd name="connsiteY4" fmla="*/ 5136231 h 6862792"/>
              <a:gd name="connsiteX5" fmla="*/ 2083733 w 8993100"/>
              <a:gd name="connsiteY5" fmla="*/ 0 h 6862792"/>
              <a:gd name="connsiteX0" fmla="*/ 2083733 w 8993100"/>
              <a:gd name="connsiteY0" fmla="*/ 0 h 6862792"/>
              <a:gd name="connsiteX1" fmla="*/ 8993100 w 8993100"/>
              <a:gd name="connsiteY1" fmla="*/ 1424 h 6862792"/>
              <a:gd name="connsiteX2" fmla="*/ 3396723 w 8993100"/>
              <a:gd name="connsiteY2" fmla="*/ 6846184 h 6862792"/>
              <a:gd name="connsiteX3" fmla="*/ 9413 w 8993100"/>
              <a:gd name="connsiteY3" fmla="*/ 6862792 h 6862792"/>
              <a:gd name="connsiteX4" fmla="*/ 0 w 8993100"/>
              <a:gd name="connsiteY4" fmla="*/ 5124508 h 6862792"/>
              <a:gd name="connsiteX5" fmla="*/ 2083733 w 8993100"/>
              <a:gd name="connsiteY5" fmla="*/ 0 h 6862792"/>
              <a:gd name="connsiteX0" fmla="*/ 2083733 w 8993100"/>
              <a:gd name="connsiteY0" fmla="*/ 0 h 6862792"/>
              <a:gd name="connsiteX1" fmla="*/ 8993100 w 8993100"/>
              <a:gd name="connsiteY1" fmla="*/ 1424 h 6862792"/>
              <a:gd name="connsiteX2" fmla="*/ 3388908 w 8993100"/>
              <a:gd name="connsiteY2" fmla="*/ 6857907 h 6862792"/>
              <a:gd name="connsiteX3" fmla="*/ 9413 w 8993100"/>
              <a:gd name="connsiteY3" fmla="*/ 6862792 h 6862792"/>
              <a:gd name="connsiteX4" fmla="*/ 0 w 8993100"/>
              <a:gd name="connsiteY4" fmla="*/ 5124508 h 6862792"/>
              <a:gd name="connsiteX5" fmla="*/ 2083733 w 8993100"/>
              <a:gd name="connsiteY5" fmla="*/ 0 h 6862792"/>
              <a:gd name="connsiteX0" fmla="*/ 2083733 w 8993100"/>
              <a:gd name="connsiteY0" fmla="*/ 0 h 6862792"/>
              <a:gd name="connsiteX1" fmla="*/ 8993100 w 8993100"/>
              <a:gd name="connsiteY1" fmla="*/ 1424 h 6862792"/>
              <a:gd name="connsiteX2" fmla="*/ 3388908 w 8993100"/>
              <a:gd name="connsiteY2" fmla="*/ 6857907 h 6862792"/>
              <a:gd name="connsiteX3" fmla="*/ 9413 w 8993100"/>
              <a:gd name="connsiteY3" fmla="*/ 6862792 h 6862792"/>
              <a:gd name="connsiteX4" fmla="*/ 0 w 8993100"/>
              <a:gd name="connsiteY4" fmla="*/ 5124508 h 6862792"/>
              <a:gd name="connsiteX5" fmla="*/ 2083733 w 8993100"/>
              <a:gd name="connsiteY5" fmla="*/ 0 h 6862792"/>
              <a:gd name="connsiteX0" fmla="*/ 2083733 w 8993100"/>
              <a:gd name="connsiteY0" fmla="*/ 0 h 6857907"/>
              <a:gd name="connsiteX1" fmla="*/ 8993100 w 8993100"/>
              <a:gd name="connsiteY1" fmla="*/ 1424 h 6857907"/>
              <a:gd name="connsiteX2" fmla="*/ 3388908 w 8993100"/>
              <a:gd name="connsiteY2" fmla="*/ 6857907 h 6857907"/>
              <a:gd name="connsiteX3" fmla="*/ 99290 w 8993100"/>
              <a:gd name="connsiteY3" fmla="*/ 6851069 h 6857907"/>
              <a:gd name="connsiteX4" fmla="*/ 0 w 8993100"/>
              <a:gd name="connsiteY4" fmla="*/ 5124508 h 6857907"/>
              <a:gd name="connsiteX5" fmla="*/ 2083733 w 8993100"/>
              <a:gd name="connsiteY5" fmla="*/ 0 h 6857907"/>
              <a:gd name="connsiteX0" fmla="*/ 2083733 w 8993100"/>
              <a:gd name="connsiteY0" fmla="*/ 0 h 6862792"/>
              <a:gd name="connsiteX1" fmla="*/ 8993100 w 8993100"/>
              <a:gd name="connsiteY1" fmla="*/ 1424 h 6862792"/>
              <a:gd name="connsiteX2" fmla="*/ 3388908 w 8993100"/>
              <a:gd name="connsiteY2" fmla="*/ 6857907 h 6862792"/>
              <a:gd name="connsiteX3" fmla="*/ 5505 w 8993100"/>
              <a:gd name="connsiteY3" fmla="*/ 6862792 h 6862792"/>
              <a:gd name="connsiteX4" fmla="*/ 0 w 8993100"/>
              <a:gd name="connsiteY4" fmla="*/ 5124508 h 6862792"/>
              <a:gd name="connsiteX5" fmla="*/ 2083733 w 8993100"/>
              <a:gd name="connsiteY5" fmla="*/ 0 h 6862792"/>
              <a:gd name="connsiteX0" fmla="*/ 2083733 w 8993100"/>
              <a:gd name="connsiteY0" fmla="*/ 0 h 6867554"/>
              <a:gd name="connsiteX1" fmla="*/ 8993100 w 8993100"/>
              <a:gd name="connsiteY1" fmla="*/ 6186 h 6867554"/>
              <a:gd name="connsiteX2" fmla="*/ 3388908 w 8993100"/>
              <a:gd name="connsiteY2" fmla="*/ 6862669 h 6867554"/>
              <a:gd name="connsiteX3" fmla="*/ 5505 w 8993100"/>
              <a:gd name="connsiteY3" fmla="*/ 6867554 h 6867554"/>
              <a:gd name="connsiteX4" fmla="*/ 0 w 8993100"/>
              <a:gd name="connsiteY4" fmla="*/ 5129270 h 6867554"/>
              <a:gd name="connsiteX5" fmla="*/ 2083733 w 8993100"/>
              <a:gd name="connsiteY5" fmla="*/ 0 h 6867554"/>
              <a:gd name="connsiteX0" fmla="*/ 2083733 w 8791676"/>
              <a:gd name="connsiteY0" fmla="*/ 0 h 6867554"/>
              <a:gd name="connsiteX1" fmla="*/ 8791676 w 8791676"/>
              <a:gd name="connsiteY1" fmla="*/ 22172 h 6867554"/>
              <a:gd name="connsiteX2" fmla="*/ 3388908 w 8791676"/>
              <a:gd name="connsiteY2" fmla="*/ 6862669 h 6867554"/>
              <a:gd name="connsiteX3" fmla="*/ 5505 w 8791676"/>
              <a:gd name="connsiteY3" fmla="*/ 6867554 h 6867554"/>
              <a:gd name="connsiteX4" fmla="*/ 0 w 8791676"/>
              <a:gd name="connsiteY4" fmla="*/ 5129270 h 6867554"/>
              <a:gd name="connsiteX5" fmla="*/ 2083733 w 8791676"/>
              <a:gd name="connsiteY5" fmla="*/ 0 h 6867554"/>
              <a:gd name="connsiteX0" fmla="*/ 2083733 w 8948339"/>
              <a:gd name="connsiteY0" fmla="*/ 208 h 6867762"/>
              <a:gd name="connsiteX1" fmla="*/ 8948339 w 8948339"/>
              <a:gd name="connsiteY1" fmla="*/ 0 h 6867762"/>
              <a:gd name="connsiteX2" fmla="*/ 3388908 w 8948339"/>
              <a:gd name="connsiteY2" fmla="*/ 6862877 h 6867762"/>
              <a:gd name="connsiteX3" fmla="*/ 5505 w 8948339"/>
              <a:gd name="connsiteY3" fmla="*/ 6867762 h 6867762"/>
              <a:gd name="connsiteX4" fmla="*/ 0 w 8948339"/>
              <a:gd name="connsiteY4" fmla="*/ 5129478 h 6867762"/>
              <a:gd name="connsiteX5" fmla="*/ 2083733 w 8948339"/>
              <a:gd name="connsiteY5" fmla="*/ 208 h 68677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948339" h="6867762">
                <a:moveTo>
                  <a:pt x="2083733" y="208"/>
                </a:moveTo>
                <a:lnTo>
                  <a:pt x="8948339" y="0"/>
                </a:lnTo>
                <a:lnTo>
                  <a:pt x="3388908" y="6862877"/>
                </a:lnTo>
                <a:lnTo>
                  <a:pt x="5505" y="6867762"/>
                </a:lnTo>
                <a:cubicBezTo>
                  <a:pt x="5505" y="6488575"/>
                  <a:pt x="0" y="5508665"/>
                  <a:pt x="0" y="5129478"/>
                </a:cubicBezTo>
                <a:lnTo>
                  <a:pt x="2083733" y="208"/>
                </a:lnTo>
                <a:close/>
              </a:path>
            </a:pathLst>
          </a:custGeom>
          <a:solidFill>
            <a:srgbClr val="55575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1866737" y="3588760"/>
            <a:ext cx="6604000" cy="0"/>
          </a:xfrm>
          <a:prstGeom prst="line">
            <a:avLst/>
          </a:prstGeom>
          <a:ln w="12700" cmpd="sng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19"/>
          <p:cNvSpPr>
            <a:spLocks noGrp="1"/>
          </p:cNvSpPr>
          <p:nvPr>
            <p:ph type="body" sz="quarter" idx="18" hasCustomPrompt="1"/>
          </p:nvPr>
        </p:nvSpPr>
        <p:spPr>
          <a:xfrm>
            <a:off x="1866739" y="3692359"/>
            <a:ext cx="5576799" cy="343400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FontTx/>
              <a:buNone/>
              <a:defRPr sz="1600" cap="all">
                <a:solidFill>
                  <a:schemeClr val="accent2"/>
                </a:solidFill>
                <a:latin typeface="+mn-lt"/>
              </a:defRPr>
            </a:lvl1pPr>
          </a:lstStyle>
          <a:p>
            <a:r>
              <a:rPr lang="en-US" sz="1600" dirty="0"/>
              <a:t>Click to edit SUBTITLE</a:t>
            </a:r>
          </a:p>
        </p:txBody>
      </p:sp>
      <p:sp>
        <p:nvSpPr>
          <p:cNvPr id="13" name="Text Placeholder 23"/>
          <p:cNvSpPr>
            <a:spLocks noGrp="1"/>
          </p:cNvSpPr>
          <p:nvPr>
            <p:ph type="body" sz="quarter" idx="19"/>
          </p:nvPr>
        </p:nvSpPr>
        <p:spPr>
          <a:xfrm>
            <a:off x="1866740" y="3059449"/>
            <a:ext cx="6154313" cy="452437"/>
          </a:xfrm>
          <a:prstGeom prst="rect">
            <a:avLst/>
          </a:prstGeom>
        </p:spPr>
        <p:txBody>
          <a:bodyPr vert="horz" lIns="0" rIns="0" bIns="0" anchor="b"/>
          <a:lstStyle>
            <a:lvl1pPr marL="0" indent="0">
              <a:buFontTx/>
              <a:buNone/>
              <a:defRPr sz="2500" cap="all" baseline="0">
                <a:solidFill>
                  <a:schemeClr val="bg1"/>
                </a:solidFill>
                <a:latin typeface="+mj-lt"/>
              </a:defRPr>
            </a:lvl1pPr>
            <a:lvl2pPr marL="457178" indent="0">
              <a:buFontTx/>
              <a:buNone/>
              <a:defRPr sz="2400" cap="all" baseline="0">
                <a:solidFill>
                  <a:schemeClr val="bg1"/>
                </a:solidFill>
              </a:defRPr>
            </a:lvl2pPr>
            <a:lvl3pPr marL="914354" indent="0">
              <a:buFontTx/>
              <a:buNone/>
              <a:defRPr sz="2400" cap="all" baseline="0">
                <a:solidFill>
                  <a:schemeClr val="bg1"/>
                </a:solidFill>
              </a:defRPr>
            </a:lvl3pPr>
            <a:lvl4pPr marL="1371532" indent="0">
              <a:buFontTx/>
              <a:buNone/>
              <a:defRPr sz="2400" cap="all" baseline="0">
                <a:solidFill>
                  <a:schemeClr val="bg1"/>
                </a:solidFill>
              </a:defRPr>
            </a:lvl4pPr>
            <a:lvl5pPr marL="1828709" indent="0">
              <a:buFontTx/>
              <a:buNone/>
              <a:defRPr sz="2400" cap="all" baseline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79975" y="6197563"/>
            <a:ext cx="2658995" cy="343835"/>
          </a:xfrm>
          <a:prstGeom prst="rect">
            <a:avLst/>
          </a:prstGeom>
        </p:spPr>
      </p:pic>
      <p:sp>
        <p:nvSpPr>
          <p:cNvPr id="4" name="Text Placeholder 3"/>
          <p:cNvSpPr>
            <a:spLocks noGrp="1"/>
          </p:cNvSpPr>
          <p:nvPr>
            <p:ph type="body" sz="quarter" idx="20" hasCustomPrompt="1"/>
          </p:nvPr>
        </p:nvSpPr>
        <p:spPr>
          <a:xfrm>
            <a:off x="1866737" y="4200993"/>
            <a:ext cx="4267200" cy="347472"/>
          </a:xfrm>
        </p:spPr>
        <p:txBody>
          <a:bodyPr anchor="ctr"/>
          <a:lstStyle>
            <a:lvl1pPr marL="0" indent="0">
              <a:buNone/>
              <a:defRPr sz="16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Insert Date</a:t>
            </a:r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21" hasCustomPrompt="1"/>
          </p:nvPr>
        </p:nvSpPr>
        <p:spPr>
          <a:xfrm>
            <a:off x="1866737" y="4889321"/>
            <a:ext cx="4267200" cy="347472"/>
          </a:xfrm>
        </p:spPr>
        <p:txBody>
          <a:bodyPr anchor="ctr"/>
          <a:lstStyle>
            <a:lvl1pPr marL="0" indent="0">
              <a:buNone/>
              <a:defRPr sz="105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Navigant Reference No:</a:t>
            </a:r>
          </a:p>
        </p:txBody>
      </p:sp>
      <p:sp>
        <p:nvSpPr>
          <p:cNvPr id="15" name="Freeform 14"/>
          <p:cNvSpPr/>
          <p:nvPr userDrawn="1"/>
        </p:nvSpPr>
        <p:spPr>
          <a:xfrm>
            <a:off x="-8596" y="-3908"/>
            <a:ext cx="2781343" cy="5136220"/>
          </a:xfrm>
          <a:custGeom>
            <a:avLst/>
            <a:gdLst>
              <a:gd name="connsiteX0" fmla="*/ 0 w 1661746"/>
              <a:gd name="connsiteY0" fmla="*/ 0 h 4044462"/>
              <a:gd name="connsiteX1" fmla="*/ 1661746 w 1661746"/>
              <a:gd name="connsiteY1" fmla="*/ 0 h 4044462"/>
              <a:gd name="connsiteX2" fmla="*/ 17585 w 1661746"/>
              <a:gd name="connsiteY2" fmla="*/ 4044462 h 4044462"/>
              <a:gd name="connsiteX3" fmla="*/ 0 w 1661746"/>
              <a:gd name="connsiteY3" fmla="*/ 0 h 4044462"/>
              <a:gd name="connsiteX0" fmla="*/ 0 w 1661746"/>
              <a:gd name="connsiteY0" fmla="*/ 0 h 4039867"/>
              <a:gd name="connsiteX1" fmla="*/ 1661746 w 1661746"/>
              <a:gd name="connsiteY1" fmla="*/ 0 h 4039867"/>
              <a:gd name="connsiteX2" fmla="*/ 12990 w 1661746"/>
              <a:gd name="connsiteY2" fmla="*/ 4039867 h 4039867"/>
              <a:gd name="connsiteX3" fmla="*/ 0 w 1661746"/>
              <a:gd name="connsiteY3" fmla="*/ 0 h 4039867"/>
              <a:gd name="connsiteX0" fmla="*/ 170948 w 1648895"/>
              <a:gd name="connsiteY0" fmla="*/ 284889 h 4039867"/>
              <a:gd name="connsiteX1" fmla="*/ 1648895 w 1648895"/>
              <a:gd name="connsiteY1" fmla="*/ 0 h 4039867"/>
              <a:gd name="connsiteX2" fmla="*/ 139 w 1648895"/>
              <a:gd name="connsiteY2" fmla="*/ 4039867 h 4039867"/>
              <a:gd name="connsiteX3" fmla="*/ 170948 w 1648895"/>
              <a:gd name="connsiteY3" fmla="*/ 284889 h 4039867"/>
              <a:gd name="connsiteX0" fmla="*/ 170948 w 1653490"/>
              <a:gd name="connsiteY0" fmla="*/ 225154 h 3980132"/>
              <a:gd name="connsiteX1" fmla="*/ 1653490 w 1653490"/>
              <a:gd name="connsiteY1" fmla="*/ 0 h 3980132"/>
              <a:gd name="connsiteX2" fmla="*/ 139 w 1653490"/>
              <a:gd name="connsiteY2" fmla="*/ 3980132 h 3980132"/>
              <a:gd name="connsiteX3" fmla="*/ 170948 w 1653490"/>
              <a:gd name="connsiteY3" fmla="*/ 225154 h 3980132"/>
              <a:gd name="connsiteX0" fmla="*/ 170948 w 1658085"/>
              <a:gd name="connsiteY0" fmla="*/ 284889 h 4039867"/>
              <a:gd name="connsiteX1" fmla="*/ 1658085 w 1658085"/>
              <a:gd name="connsiteY1" fmla="*/ 0 h 4039867"/>
              <a:gd name="connsiteX2" fmla="*/ 139 w 1658085"/>
              <a:gd name="connsiteY2" fmla="*/ 4039867 h 4039867"/>
              <a:gd name="connsiteX3" fmla="*/ 170948 w 1658085"/>
              <a:gd name="connsiteY3" fmla="*/ 284889 h 4039867"/>
              <a:gd name="connsiteX0" fmla="*/ 0 w 1666341"/>
              <a:gd name="connsiteY0" fmla="*/ 4595 h 4039867"/>
              <a:gd name="connsiteX1" fmla="*/ 1666341 w 1666341"/>
              <a:gd name="connsiteY1" fmla="*/ 0 h 4039867"/>
              <a:gd name="connsiteX2" fmla="*/ 8395 w 1666341"/>
              <a:gd name="connsiteY2" fmla="*/ 4039867 h 4039867"/>
              <a:gd name="connsiteX3" fmla="*/ 0 w 1666341"/>
              <a:gd name="connsiteY3" fmla="*/ 4595 h 4039867"/>
              <a:gd name="connsiteX0" fmla="*/ 0 w 1666341"/>
              <a:gd name="connsiteY0" fmla="*/ 4595 h 4035272"/>
              <a:gd name="connsiteX1" fmla="*/ 1666341 w 1666341"/>
              <a:gd name="connsiteY1" fmla="*/ 0 h 4035272"/>
              <a:gd name="connsiteX2" fmla="*/ 8395 w 1666341"/>
              <a:gd name="connsiteY2" fmla="*/ 4035272 h 4035272"/>
              <a:gd name="connsiteX3" fmla="*/ 0 w 1666341"/>
              <a:gd name="connsiteY3" fmla="*/ 4595 h 4035272"/>
              <a:gd name="connsiteX0" fmla="*/ 56296 w 1658307"/>
              <a:gd name="connsiteY0" fmla="*/ 114874 h 4035272"/>
              <a:gd name="connsiteX1" fmla="*/ 1658307 w 1658307"/>
              <a:gd name="connsiteY1" fmla="*/ 0 h 4035272"/>
              <a:gd name="connsiteX2" fmla="*/ 361 w 1658307"/>
              <a:gd name="connsiteY2" fmla="*/ 4035272 h 4035272"/>
              <a:gd name="connsiteX3" fmla="*/ 56296 w 1658307"/>
              <a:gd name="connsiteY3" fmla="*/ 114874 h 4035272"/>
              <a:gd name="connsiteX0" fmla="*/ 2400 w 1659551"/>
              <a:gd name="connsiteY0" fmla="*/ 9190 h 4035272"/>
              <a:gd name="connsiteX1" fmla="*/ 1659551 w 1659551"/>
              <a:gd name="connsiteY1" fmla="*/ 0 h 4035272"/>
              <a:gd name="connsiteX2" fmla="*/ 1605 w 1659551"/>
              <a:gd name="connsiteY2" fmla="*/ 4035272 h 4035272"/>
              <a:gd name="connsiteX3" fmla="*/ 2400 w 1659551"/>
              <a:gd name="connsiteY3" fmla="*/ 9190 h 4035272"/>
              <a:gd name="connsiteX0" fmla="*/ 146 w 1659873"/>
              <a:gd name="connsiteY0" fmla="*/ 6614 h 4035272"/>
              <a:gd name="connsiteX1" fmla="*/ 1659873 w 1659873"/>
              <a:gd name="connsiteY1" fmla="*/ 0 h 4035272"/>
              <a:gd name="connsiteX2" fmla="*/ 1927 w 1659873"/>
              <a:gd name="connsiteY2" fmla="*/ 4035272 h 4035272"/>
              <a:gd name="connsiteX3" fmla="*/ 146 w 1659873"/>
              <a:gd name="connsiteY3" fmla="*/ 6614 h 4035272"/>
              <a:gd name="connsiteX0" fmla="*/ 146 w 1649570"/>
              <a:gd name="connsiteY0" fmla="*/ 0 h 4028658"/>
              <a:gd name="connsiteX1" fmla="*/ 1649570 w 1649570"/>
              <a:gd name="connsiteY1" fmla="*/ 11416 h 4028658"/>
              <a:gd name="connsiteX2" fmla="*/ 1927 w 1649570"/>
              <a:gd name="connsiteY2" fmla="*/ 4028658 h 4028658"/>
              <a:gd name="connsiteX3" fmla="*/ 146 w 1649570"/>
              <a:gd name="connsiteY3" fmla="*/ 0 h 4028658"/>
              <a:gd name="connsiteX0" fmla="*/ 57814 w 1647996"/>
              <a:gd name="connsiteY0" fmla="*/ 109645 h 4017242"/>
              <a:gd name="connsiteX1" fmla="*/ 1647996 w 1647996"/>
              <a:gd name="connsiteY1" fmla="*/ 0 h 4017242"/>
              <a:gd name="connsiteX2" fmla="*/ 353 w 1647996"/>
              <a:gd name="connsiteY2" fmla="*/ 4017242 h 4017242"/>
              <a:gd name="connsiteX3" fmla="*/ 57814 w 1647996"/>
              <a:gd name="connsiteY3" fmla="*/ 109645 h 4017242"/>
              <a:gd name="connsiteX0" fmla="*/ 52689 w 1648022"/>
              <a:gd name="connsiteY0" fmla="*/ 65857 h 4017242"/>
              <a:gd name="connsiteX1" fmla="*/ 1648022 w 1648022"/>
              <a:gd name="connsiteY1" fmla="*/ 0 h 4017242"/>
              <a:gd name="connsiteX2" fmla="*/ 379 w 1648022"/>
              <a:gd name="connsiteY2" fmla="*/ 4017242 h 4017242"/>
              <a:gd name="connsiteX3" fmla="*/ 52689 w 1648022"/>
              <a:gd name="connsiteY3" fmla="*/ 65857 h 4017242"/>
              <a:gd name="connsiteX0" fmla="*/ 9598 w 1648720"/>
              <a:gd name="connsiteY0" fmla="*/ 0 h 4020931"/>
              <a:gd name="connsiteX1" fmla="*/ 1648720 w 1648720"/>
              <a:gd name="connsiteY1" fmla="*/ 3689 h 4020931"/>
              <a:gd name="connsiteX2" fmla="*/ 1077 w 1648720"/>
              <a:gd name="connsiteY2" fmla="*/ 4020931 h 4020931"/>
              <a:gd name="connsiteX3" fmla="*/ 9598 w 1648720"/>
              <a:gd name="connsiteY3" fmla="*/ 0 h 4020931"/>
              <a:gd name="connsiteX0" fmla="*/ 12067 w 1651189"/>
              <a:gd name="connsiteY0" fmla="*/ 0 h 4023507"/>
              <a:gd name="connsiteX1" fmla="*/ 1651189 w 1651189"/>
              <a:gd name="connsiteY1" fmla="*/ 3689 h 4023507"/>
              <a:gd name="connsiteX2" fmla="*/ 971 w 1651189"/>
              <a:gd name="connsiteY2" fmla="*/ 4023507 h 4023507"/>
              <a:gd name="connsiteX3" fmla="*/ 12067 w 1651189"/>
              <a:gd name="connsiteY3" fmla="*/ 0 h 4023507"/>
              <a:gd name="connsiteX0" fmla="*/ 0 w 1639122"/>
              <a:gd name="connsiteY0" fmla="*/ 0 h 4023507"/>
              <a:gd name="connsiteX1" fmla="*/ 1639122 w 1639122"/>
              <a:gd name="connsiteY1" fmla="*/ 3689 h 4023507"/>
              <a:gd name="connsiteX2" fmla="*/ 6935 w 1639122"/>
              <a:gd name="connsiteY2" fmla="*/ 4023507 h 4023507"/>
              <a:gd name="connsiteX3" fmla="*/ 0 w 1639122"/>
              <a:gd name="connsiteY3" fmla="*/ 0 h 4023507"/>
              <a:gd name="connsiteX0" fmla="*/ 17059 w 1656181"/>
              <a:gd name="connsiteY0" fmla="*/ 0 h 4015780"/>
              <a:gd name="connsiteX1" fmla="*/ 1656181 w 1656181"/>
              <a:gd name="connsiteY1" fmla="*/ 3689 h 4015780"/>
              <a:gd name="connsiteX2" fmla="*/ 812 w 1656181"/>
              <a:gd name="connsiteY2" fmla="*/ 4015780 h 4015780"/>
              <a:gd name="connsiteX3" fmla="*/ 17059 w 1656181"/>
              <a:gd name="connsiteY3" fmla="*/ 0 h 4015780"/>
              <a:gd name="connsiteX0" fmla="*/ 0 w 1639122"/>
              <a:gd name="connsiteY0" fmla="*/ 0 h 3899870"/>
              <a:gd name="connsiteX1" fmla="*/ 1639122 w 1639122"/>
              <a:gd name="connsiteY1" fmla="*/ 3689 h 3899870"/>
              <a:gd name="connsiteX2" fmla="*/ 73905 w 1639122"/>
              <a:gd name="connsiteY2" fmla="*/ 3899870 h 3899870"/>
              <a:gd name="connsiteX3" fmla="*/ 0 w 1639122"/>
              <a:gd name="connsiteY3" fmla="*/ 0 h 3899870"/>
              <a:gd name="connsiteX0" fmla="*/ 0 w 1639122"/>
              <a:gd name="connsiteY0" fmla="*/ 0 h 3987447"/>
              <a:gd name="connsiteX1" fmla="*/ 1639122 w 1639122"/>
              <a:gd name="connsiteY1" fmla="*/ 3689 h 3987447"/>
              <a:gd name="connsiteX2" fmla="*/ 6935 w 1639122"/>
              <a:gd name="connsiteY2" fmla="*/ 3987447 h 3987447"/>
              <a:gd name="connsiteX3" fmla="*/ 0 w 1639122"/>
              <a:gd name="connsiteY3" fmla="*/ 0 h 3987447"/>
              <a:gd name="connsiteX0" fmla="*/ 144 w 1639266"/>
              <a:gd name="connsiteY0" fmla="*/ 0 h 3987447"/>
              <a:gd name="connsiteX1" fmla="*/ 1639266 w 1639266"/>
              <a:gd name="connsiteY1" fmla="*/ 3689 h 3987447"/>
              <a:gd name="connsiteX2" fmla="*/ 1927 w 1639266"/>
              <a:gd name="connsiteY2" fmla="*/ 3987447 h 3987447"/>
              <a:gd name="connsiteX3" fmla="*/ 144 w 1639266"/>
              <a:gd name="connsiteY3" fmla="*/ 0 h 3987447"/>
              <a:gd name="connsiteX0" fmla="*/ 2397 w 1641519"/>
              <a:gd name="connsiteY0" fmla="*/ 0 h 3995174"/>
              <a:gd name="connsiteX1" fmla="*/ 1641519 w 1641519"/>
              <a:gd name="connsiteY1" fmla="*/ 3689 h 3995174"/>
              <a:gd name="connsiteX2" fmla="*/ 1605 w 1641519"/>
              <a:gd name="connsiteY2" fmla="*/ 3995174 h 3995174"/>
              <a:gd name="connsiteX3" fmla="*/ 2397 w 1641519"/>
              <a:gd name="connsiteY3" fmla="*/ 0 h 3995174"/>
              <a:gd name="connsiteX0" fmla="*/ 9681 w 1648803"/>
              <a:gd name="connsiteY0" fmla="*/ 0 h 5116681"/>
              <a:gd name="connsiteX1" fmla="*/ 1648803 w 1648803"/>
              <a:gd name="connsiteY1" fmla="*/ 3689 h 5116681"/>
              <a:gd name="connsiteX2" fmla="*/ 1073 w 1648803"/>
              <a:gd name="connsiteY2" fmla="*/ 5116681 h 5116681"/>
              <a:gd name="connsiteX3" fmla="*/ 9681 w 1648803"/>
              <a:gd name="connsiteY3" fmla="*/ 0 h 5116681"/>
              <a:gd name="connsiteX0" fmla="*/ 9681 w 2078650"/>
              <a:gd name="connsiteY0" fmla="*/ 0 h 5116681"/>
              <a:gd name="connsiteX1" fmla="*/ 2078650 w 2078650"/>
              <a:gd name="connsiteY1" fmla="*/ 3689 h 5116681"/>
              <a:gd name="connsiteX2" fmla="*/ 1073 w 2078650"/>
              <a:gd name="connsiteY2" fmla="*/ 5116681 h 5116681"/>
              <a:gd name="connsiteX3" fmla="*/ 9681 w 2078650"/>
              <a:gd name="connsiteY3" fmla="*/ 0 h 5116681"/>
              <a:gd name="connsiteX0" fmla="*/ 5986 w 2078862"/>
              <a:gd name="connsiteY0" fmla="*/ 0 h 5120589"/>
              <a:gd name="connsiteX1" fmla="*/ 2078862 w 2078862"/>
              <a:gd name="connsiteY1" fmla="*/ 7597 h 5120589"/>
              <a:gd name="connsiteX2" fmla="*/ 1285 w 2078862"/>
              <a:gd name="connsiteY2" fmla="*/ 5120589 h 5120589"/>
              <a:gd name="connsiteX3" fmla="*/ 5986 w 2078862"/>
              <a:gd name="connsiteY3" fmla="*/ 0 h 5120589"/>
              <a:gd name="connsiteX0" fmla="*/ 2400 w 2075276"/>
              <a:gd name="connsiteY0" fmla="*/ 0 h 5108866"/>
              <a:gd name="connsiteX1" fmla="*/ 2075276 w 2075276"/>
              <a:gd name="connsiteY1" fmla="*/ 7597 h 5108866"/>
              <a:gd name="connsiteX2" fmla="*/ 1606 w 2075276"/>
              <a:gd name="connsiteY2" fmla="*/ 5108866 h 5108866"/>
              <a:gd name="connsiteX3" fmla="*/ 2400 w 2075276"/>
              <a:gd name="connsiteY3" fmla="*/ 0 h 5108866"/>
              <a:gd name="connsiteX0" fmla="*/ 5987 w 2078863"/>
              <a:gd name="connsiteY0" fmla="*/ 0 h 5136220"/>
              <a:gd name="connsiteX1" fmla="*/ 2078863 w 2078863"/>
              <a:gd name="connsiteY1" fmla="*/ 7597 h 5136220"/>
              <a:gd name="connsiteX2" fmla="*/ 1285 w 2078863"/>
              <a:gd name="connsiteY2" fmla="*/ 5136220 h 5136220"/>
              <a:gd name="connsiteX3" fmla="*/ 5987 w 2078863"/>
              <a:gd name="connsiteY3" fmla="*/ 0 h 5136220"/>
              <a:gd name="connsiteX0" fmla="*/ 5987 w 2086007"/>
              <a:gd name="connsiteY0" fmla="*/ 0 h 5136220"/>
              <a:gd name="connsiteX1" fmla="*/ 2086007 w 2086007"/>
              <a:gd name="connsiteY1" fmla="*/ 2835 h 5136220"/>
              <a:gd name="connsiteX2" fmla="*/ 1285 w 2086007"/>
              <a:gd name="connsiteY2" fmla="*/ 5136220 h 5136220"/>
              <a:gd name="connsiteX3" fmla="*/ 5987 w 2086007"/>
              <a:gd name="connsiteY3" fmla="*/ 0 h 51362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086007" h="5136220">
                <a:moveTo>
                  <a:pt x="5987" y="0"/>
                </a:moveTo>
                <a:lnTo>
                  <a:pt x="2086007" y="2835"/>
                </a:lnTo>
                <a:cubicBezTo>
                  <a:pt x="1539369" y="1333330"/>
                  <a:pt x="547923" y="3805725"/>
                  <a:pt x="1285" y="5136220"/>
                </a:cubicBezTo>
                <a:cubicBezTo>
                  <a:pt x="-4577" y="3790997"/>
                  <a:pt x="11849" y="1354016"/>
                  <a:pt x="5987" y="0"/>
                </a:cubicBezTo>
                <a:close/>
              </a:path>
            </a:pathLst>
          </a:custGeom>
          <a:gradFill>
            <a:gsLst>
              <a:gs pos="0">
                <a:srgbClr val="648C1A"/>
              </a:gs>
              <a:gs pos="100000">
                <a:schemeClr val="accent2"/>
              </a:gs>
            </a:gsLst>
            <a:lin ang="108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</p:spTree>
    <p:extLst>
      <p:ext uri="{BB962C8B-B14F-4D97-AF65-F5344CB8AC3E}">
        <p14:creationId xmlns:p14="http://schemas.microsoft.com/office/powerpoint/2010/main" val="1680105288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0" name="think-cell Slide" r:id="rId5" imgW="530" imgH="531" progId="TCLayout.ActiveDocument.1">
                  <p:embed/>
                </p:oleObj>
              </mc:Choice>
              <mc:Fallback>
                <p:oleObj name="think-cell Slide" r:id="rId5" imgW="530" imgH="531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"/>
          <p:cNvSpPr>
            <a:spLocks noGrp="1"/>
          </p:cNvSpPr>
          <p:nvPr>
            <p:ph idx="1"/>
          </p:nvPr>
        </p:nvSpPr>
        <p:spPr bwMode="gray">
          <a:xfrm>
            <a:off x="287453" y="1341114"/>
            <a:ext cx="11625600" cy="4828044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/>
            </a:lvl6pPr>
            <a:lvl7pPr fontAlgn="base">
              <a:lnSpc>
                <a:spcPct val="100000"/>
              </a:lnSpc>
              <a:spcAft>
                <a:spcPts val="0"/>
              </a:spcAft>
              <a:defRPr/>
            </a:lvl7pPr>
            <a:lvl8pPr fontAlgn="base">
              <a:lnSpc>
                <a:spcPct val="100000"/>
              </a:lnSpc>
              <a:spcAft>
                <a:spcPts val="0"/>
              </a:spcAft>
              <a:defRPr/>
            </a:lvl8pPr>
            <a:lvl9pPr fontAlgn="base">
              <a:lnSpc>
                <a:spcPct val="100000"/>
              </a:lnSpc>
              <a:spcAft>
                <a:spcPts val="0"/>
              </a:spcAft>
              <a:defRPr/>
            </a:lvl9pPr>
          </a:lstStyle>
          <a:p>
            <a:pPr lvl="0"/>
            <a:r>
              <a:rPr lang="en-US" altLang="ja-JP"/>
              <a:t>Click to edit Master text styles</a:t>
            </a:r>
          </a:p>
          <a:p>
            <a:pPr lvl="1"/>
            <a:r>
              <a:rPr lang="en-US" altLang="ja-JP"/>
              <a:t>Second level</a:t>
            </a:r>
          </a:p>
          <a:p>
            <a:pPr lvl="2"/>
            <a:r>
              <a:rPr lang="en-US" altLang="ja-JP"/>
              <a:t>Third level</a:t>
            </a:r>
          </a:p>
          <a:p>
            <a:pPr lvl="3"/>
            <a:r>
              <a:rPr lang="en-US" altLang="ja-JP"/>
              <a:t>Fourth level</a:t>
            </a:r>
          </a:p>
          <a:p>
            <a:pPr lvl="4"/>
            <a:r>
              <a:rPr lang="en-US" altLang="ja-JP"/>
              <a:t>Fifth level</a:t>
            </a:r>
            <a:endParaRPr lang="en-GB" dirty="0"/>
          </a:p>
        </p:txBody>
      </p:sp>
      <p:sp>
        <p:nvSpPr>
          <p:cNvPr id="9" name="Title"/>
          <p:cNvSpPr>
            <a:spLocks noGrp="1" noChangeArrowheads="1"/>
          </p:cNvSpPr>
          <p:nvPr>
            <p:ph type="title"/>
            <p:custDataLst>
              <p:tags r:id="rId3"/>
            </p:custDataLst>
          </p:nvPr>
        </p:nvSpPr>
        <p:spPr bwMode="gray">
          <a:xfrm>
            <a:off x="287453" y="1"/>
            <a:ext cx="11625600" cy="1011600"/>
          </a:xfrm>
          <a:prstGeom prst="rect">
            <a:avLst/>
          </a:prstGeom>
        </p:spPr>
        <p:txBody>
          <a:bodyPr anchor="b"/>
          <a:lstStyle/>
          <a:p>
            <a:pPr lvl="0"/>
            <a:r>
              <a:rPr lang="en-US" altLang="ja-JP"/>
              <a:t>Click to edit Master title style</a:t>
            </a:r>
            <a:endParaRPr lang="en-GB" dirty="0"/>
          </a:p>
        </p:txBody>
      </p:sp>
      <p:sp>
        <p:nvSpPr>
          <p:cNvPr id="6" name="Content"/>
          <p:cNvSpPr>
            <a:spLocks noGrp="1"/>
          </p:cNvSpPr>
          <p:nvPr>
            <p:ph idx="10" hasCustomPrompt="1"/>
          </p:nvPr>
        </p:nvSpPr>
        <p:spPr bwMode="gray">
          <a:xfrm>
            <a:off x="287453" y="6046048"/>
            <a:ext cx="11625600" cy="123111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en-US" sz="800" dirty="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/>
            </a:lvl6pPr>
            <a:lvl7pPr fontAlgn="base">
              <a:lnSpc>
                <a:spcPct val="100000"/>
              </a:lnSpc>
              <a:spcAft>
                <a:spcPts val="0"/>
              </a:spcAft>
              <a:defRPr/>
            </a:lvl7pPr>
            <a:lvl8pPr fontAlgn="base">
              <a:lnSpc>
                <a:spcPct val="100000"/>
              </a:lnSpc>
              <a:spcAft>
                <a:spcPts val="0"/>
              </a:spcAft>
              <a:defRPr/>
            </a:lvl8pPr>
            <a:lvl9pPr fontAlgn="base">
              <a:lnSpc>
                <a:spcPct val="100000"/>
              </a:lnSpc>
              <a:spcAft>
                <a:spcPts val="0"/>
              </a:spcAft>
              <a:defRPr/>
            </a:lvl9pPr>
          </a:lstStyle>
          <a:p>
            <a:pPr lvl="0"/>
            <a:r>
              <a:rPr lang="en-GB" dirty="0"/>
              <a:t>Source: </a:t>
            </a:r>
          </a:p>
        </p:txBody>
      </p:sp>
    </p:spTree>
    <p:extLst>
      <p:ext uri="{BB962C8B-B14F-4D97-AF65-F5344CB8AC3E}">
        <p14:creationId xmlns:p14="http://schemas.microsoft.com/office/powerpoint/2010/main" val="320142760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een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1396" y="3692"/>
            <a:ext cx="12201685" cy="685430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9" name="Freeform 8"/>
          <p:cNvSpPr/>
          <p:nvPr userDrawn="1"/>
        </p:nvSpPr>
        <p:spPr>
          <a:xfrm>
            <a:off x="-11936" y="-3148"/>
            <a:ext cx="11931119" cy="6867762"/>
          </a:xfrm>
          <a:custGeom>
            <a:avLst/>
            <a:gdLst>
              <a:gd name="connsiteX0" fmla="*/ 1643975 w 8501975"/>
              <a:gd name="connsiteY0" fmla="*/ 0 h 5175115"/>
              <a:gd name="connsiteX1" fmla="*/ 8501975 w 8501975"/>
              <a:gd name="connsiteY1" fmla="*/ 19455 h 5175115"/>
              <a:gd name="connsiteX2" fmla="*/ 4289898 w 8501975"/>
              <a:gd name="connsiteY2" fmla="*/ 5175115 h 5175115"/>
              <a:gd name="connsiteX3" fmla="*/ 0 w 8501975"/>
              <a:gd name="connsiteY3" fmla="*/ 5175115 h 5175115"/>
              <a:gd name="connsiteX4" fmla="*/ 0 w 8501975"/>
              <a:gd name="connsiteY4" fmla="*/ 4027251 h 5175115"/>
              <a:gd name="connsiteX5" fmla="*/ 1643975 w 8501975"/>
              <a:gd name="connsiteY5" fmla="*/ 0 h 5175115"/>
              <a:gd name="connsiteX0" fmla="*/ 1649126 w 8507126"/>
              <a:gd name="connsiteY0" fmla="*/ 0 h 5175115"/>
              <a:gd name="connsiteX1" fmla="*/ 8507126 w 8507126"/>
              <a:gd name="connsiteY1" fmla="*/ 19455 h 5175115"/>
              <a:gd name="connsiteX2" fmla="*/ 4295049 w 8507126"/>
              <a:gd name="connsiteY2" fmla="*/ 5175115 h 5175115"/>
              <a:gd name="connsiteX3" fmla="*/ 5151 w 8507126"/>
              <a:gd name="connsiteY3" fmla="*/ 5175115 h 5175115"/>
              <a:gd name="connsiteX4" fmla="*/ 0 w 8507126"/>
              <a:gd name="connsiteY4" fmla="*/ 4037554 h 5175115"/>
              <a:gd name="connsiteX5" fmla="*/ 1649126 w 8507126"/>
              <a:gd name="connsiteY5" fmla="*/ 0 h 5175115"/>
              <a:gd name="connsiteX0" fmla="*/ 1649127 w 8507127"/>
              <a:gd name="connsiteY0" fmla="*/ 0 h 5175115"/>
              <a:gd name="connsiteX1" fmla="*/ 8507127 w 8507127"/>
              <a:gd name="connsiteY1" fmla="*/ 19455 h 5175115"/>
              <a:gd name="connsiteX2" fmla="*/ 4295050 w 8507127"/>
              <a:gd name="connsiteY2" fmla="*/ 5175115 h 5175115"/>
              <a:gd name="connsiteX3" fmla="*/ 0 w 8507127"/>
              <a:gd name="connsiteY3" fmla="*/ 5175115 h 5175115"/>
              <a:gd name="connsiteX4" fmla="*/ 1 w 8507127"/>
              <a:gd name="connsiteY4" fmla="*/ 4037554 h 5175115"/>
              <a:gd name="connsiteX5" fmla="*/ 1649127 w 8507127"/>
              <a:gd name="connsiteY5" fmla="*/ 0 h 5175115"/>
              <a:gd name="connsiteX0" fmla="*/ 1690339 w 8507127"/>
              <a:gd name="connsiteY0" fmla="*/ 34637 h 5155660"/>
              <a:gd name="connsiteX1" fmla="*/ 8507127 w 8507127"/>
              <a:gd name="connsiteY1" fmla="*/ 0 h 5155660"/>
              <a:gd name="connsiteX2" fmla="*/ 4295050 w 8507127"/>
              <a:gd name="connsiteY2" fmla="*/ 5155660 h 5155660"/>
              <a:gd name="connsiteX3" fmla="*/ 0 w 8507127"/>
              <a:gd name="connsiteY3" fmla="*/ 5155660 h 5155660"/>
              <a:gd name="connsiteX4" fmla="*/ 1 w 8507127"/>
              <a:gd name="connsiteY4" fmla="*/ 4018099 h 5155660"/>
              <a:gd name="connsiteX5" fmla="*/ 1690339 w 8507127"/>
              <a:gd name="connsiteY5" fmla="*/ 34637 h 5155660"/>
              <a:gd name="connsiteX0" fmla="*/ 1651702 w 8507127"/>
              <a:gd name="connsiteY0" fmla="*/ 0 h 5157084"/>
              <a:gd name="connsiteX1" fmla="*/ 8507127 w 8507127"/>
              <a:gd name="connsiteY1" fmla="*/ 1424 h 5157084"/>
              <a:gd name="connsiteX2" fmla="*/ 4295050 w 8507127"/>
              <a:gd name="connsiteY2" fmla="*/ 5157084 h 5157084"/>
              <a:gd name="connsiteX3" fmla="*/ 0 w 8507127"/>
              <a:gd name="connsiteY3" fmla="*/ 5157084 h 5157084"/>
              <a:gd name="connsiteX4" fmla="*/ 1 w 8507127"/>
              <a:gd name="connsiteY4" fmla="*/ 4019523 h 5157084"/>
              <a:gd name="connsiteX5" fmla="*/ 1651702 w 8507127"/>
              <a:gd name="connsiteY5" fmla="*/ 0 h 5157084"/>
              <a:gd name="connsiteX0" fmla="*/ 1651702 w 8507127"/>
              <a:gd name="connsiteY0" fmla="*/ 0 h 5157084"/>
              <a:gd name="connsiteX1" fmla="*/ 8507127 w 8507127"/>
              <a:gd name="connsiteY1" fmla="*/ 1424 h 5157084"/>
              <a:gd name="connsiteX2" fmla="*/ 4295050 w 8507127"/>
              <a:gd name="connsiteY2" fmla="*/ 5157084 h 5157084"/>
              <a:gd name="connsiteX3" fmla="*/ 0 w 8507127"/>
              <a:gd name="connsiteY3" fmla="*/ 5157084 h 5157084"/>
              <a:gd name="connsiteX4" fmla="*/ 46365 w 8507127"/>
              <a:gd name="connsiteY4" fmla="*/ 4006644 h 5157084"/>
              <a:gd name="connsiteX5" fmla="*/ 1651702 w 8507127"/>
              <a:gd name="connsiteY5" fmla="*/ 0 h 5157084"/>
              <a:gd name="connsiteX0" fmla="*/ 1651702 w 8507127"/>
              <a:gd name="connsiteY0" fmla="*/ 0 h 5157084"/>
              <a:gd name="connsiteX1" fmla="*/ 8507127 w 8507127"/>
              <a:gd name="connsiteY1" fmla="*/ 1424 h 5157084"/>
              <a:gd name="connsiteX2" fmla="*/ 4295050 w 8507127"/>
              <a:gd name="connsiteY2" fmla="*/ 5157084 h 5157084"/>
              <a:gd name="connsiteX3" fmla="*/ 0 w 8507127"/>
              <a:gd name="connsiteY3" fmla="*/ 5157084 h 5157084"/>
              <a:gd name="connsiteX4" fmla="*/ 15455 w 8507127"/>
              <a:gd name="connsiteY4" fmla="*/ 3973159 h 5157084"/>
              <a:gd name="connsiteX5" fmla="*/ 1651702 w 8507127"/>
              <a:gd name="connsiteY5" fmla="*/ 0 h 5157084"/>
              <a:gd name="connsiteX0" fmla="*/ 1636247 w 8491672"/>
              <a:gd name="connsiteY0" fmla="*/ 0 h 5157084"/>
              <a:gd name="connsiteX1" fmla="*/ 8491672 w 8491672"/>
              <a:gd name="connsiteY1" fmla="*/ 1424 h 5157084"/>
              <a:gd name="connsiteX2" fmla="*/ 4279595 w 8491672"/>
              <a:gd name="connsiteY2" fmla="*/ 5157084 h 5157084"/>
              <a:gd name="connsiteX3" fmla="*/ 64394 w 8491672"/>
              <a:gd name="connsiteY3" fmla="*/ 5157084 h 5157084"/>
              <a:gd name="connsiteX4" fmla="*/ 0 w 8491672"/>
              <a:gd name="connsiteY4" fmla="*/ 3973159 h 5157084"/>
              <a:gd name="connsiteX5" fmla="*/ 1636247 w 8491672"/>
              <a:gd name="connsiteY5" fmla="*/ 0 h 5157084"/>
              <a:gd name="connsiteX0" fmla="*/ 1638823 w 8494248"/>
              <a:gd name="connsiteY0" fmla="*/ 0 h 5157084"/>
              <a:gd name="connsiteX1" fmla="*/ 8494248 w 8494248"/>
              <a:gd name="connsiteY1" fmla="*/ 1424 h 5157084"/>
              <a:gd name="connsiteX2" fmla="*/ 4282171 w 8494248"/>
              <a:gd name="connsiteY2" fmla="*/ 5157084 h 5157084"/>
              <a:gd name="connsiteX3" fmla="*/ 0 w 8494248"/>
              <a:gd name="connsiteY3" fmla="*/ 5157084 h 5157084"/>
              <a:gd name="connsiteX4" fmla="*/ 2576 w 8494248"/>
              <a:gd name="connsiteY4" fmla="*/ 3973159 h 5157084"/>
              <a:gd name="connsiteX5" fmla="*/ 1638823 w 8494248"/>
              <a:gd name="connsiteY5" fmla="*/ 0 h 5157084"/>
              <a:gd name="connsiteX0" fmla="*/ 1638823 w 8494248"/>
              <a:gd name="connsiteY0" fmla="*/ 0 h 5157084"/>
              <a:gd name="connsiteX1" fmla="*/ 8494248 w 8494248"/>
              <a:gd name="connsiteY1" fmla="*/ 1424 h 5157084"/>
              <a:gd name="connsiteX2" fmla="*/ 4282171 w 8494248"/>
              <a:gd name="connsiteY2" fmla="*/ 5157084 h 5157084"/>
              <a:gd name="connsiteX3" fmla="*/ 0 w 8494248"/>
              <a:gd name="connsiteY3" fmla="*/ 5157084 h 5157084"/>
              <a:gd name="connsiteX4" fmla="*/ 38637 w 8494248"/>
              <a:gd name="connsiteY4" fmla="*/ 4029826 h 5157084"/>
              <a:gd name="connsiteX5" fmla="*/ 1638823 w 8494248"/>
              <a:gd name="connsiteY5" fmla="*/ 0 h 5157084"/>
              <a:gd name="connsiteX0" fmla="*/ 1641398 w 8496823"/>
              <a:gd name="connsiteY0" fmla="*/ 0 h 5157084"/>
              <a:gd name="connsiteX1" fmla="*/ 8496823 w 8496823"/>
              <a:gd name="connsiteY1" fmla="*/ 1424 h 5157084"/>
              <a:gd name="connsiteX2" fmla="*/ 4284746 w 8496823"/>
              <a:gd name="connsiteY2" fmla="*/ 5157084 h 5157084"/>
              <a:gd name="connsiteX3" fmla="*/ 2575 w 8496823"/>
              <a:gd name="connsiteY3" fmla="*/ 5157084 h 5157084"/>
              <a:gd name="connsiteX4" fmla="*/ 0 w 8496823"/>
              <a:gd name="connsiteY4" fmla="*/ 3983462 h 5157084"/>
              <a:gd name="connsiteX5" fmla="*/ 1641398 w 8496823"/>
              <a:gd name="connsiteY5" fmla="*/ 0 h 5157084"/>
              <a:gd name="connsiteX0" fmla="*/ 1638256 w 8496823"/>
              <a:gd name="connsiteY0" fmla="*/ 0 h 5157084"/>
              <a:gd name="connsiteX1" fmla="*/ 8496823 w 8496823"/>
              <a:gd name="connsiteY1" fmla="*/ 1424 h 5157084"/>
              <a:gd name="connsiteX2" fmla="*/ 4284746 w 8496823"/>
              <a:gd name="connsiteY2" fmla="*/ 5157084 h 5157084"/>
              <a:gd name="connsiteX3" fmla="*/ 2575 w 8496823"/>
              <a:gd name="connsiteY3" fmla="*/ 5157084 h 5157084"/>
              <a:gd name="connsiteX4" fmla="*/ 0 w 8496823"/>
              <a:gd name="connsiteY4" fmla="*/ 3983462 h 5157084"/>
              <a:gd name="connsiteX5" fmla="*/ 1638256 w 8496823"/>
              <a:gd name="connsiteY5" fmla="*/ 0 h 5157084"/>
              <a:gd name="connsiteX0" fmla="*/ 1638256 w 8496823"/>
              <a:gd name="connsiteY0" fmla="*/ 0 h 6846184"/>
              <a:gd name="connsiteX1" fmla="*/ 8496823 w 8496823"/>
              <a:gd name="connsiteY1" fmla="*/ 1424 h 6846184"/>
              <a:gd name="connsiteX2" fmla="*/ 2900446 w 8496823"/>
              <a:gd name="connsiteY2" fmla="*/ 6846184 h 6846184"/>
              <a:gd name="connsiteX3" fmla="*/ 2575 w 8496823"/>
              <a:gd name="connsiteY3" fmla="*/ 5157084 h 6846184"/>
              <a:gd name="connsiteX4" fmla="*/ 0 w 8496823"/>
              <a:gd name="connsiteY4" fmla="*/ 3983462 h 6846184"/>
              <a:gd name="connsiteX5" fmla="*/ 1638256 w 8496823"/>
              <a:gd name="connsiteY5" fmla="*/ 0 h 6846184"/>
              <a:gd name="connsiteX0" fmla="*/ 1648381 w 8506948"/>
              <a:gd name="connsiteY0" fmla="*/ 0 h 6858884"/>
              <a:gd name="connsiteX1" fmla="*/ 8506948 w 8506948"/>
              <a:gd name="connsiteY1" fmla="*/ 1424 h 6858884"/>
              <a:gd name="connsiteX2" fmla="*/ 2910571 w 8506948"/>
              <a:gd name="connsiteY2" fmla="*/ 6846184 h 6858884"/>
              <a:gd name="connsiteX3" fmla="*/ 0 w 8506948"/>
              <a:gd name="connsiteY3" fmla="*/ 6858884 h 6858884"/>
              <a:gd name="connsiteX4" fmla="*/ 10125 w 8506948"/>
              <a:gd name="connsiteY4" fmla="*/ 3983462 h 6858884"/>
              <a:gd name="connsiteX5" fmla="*/ 1648381 w 8506948"/>
              <a:gd name="connsiteY5" fmla="*/ 0 h 6858884"/>
              <a:gd name="connsiteX0" fmla="*/ 1597581 w 8506948"/>
              <a:gd name="connsiteY0" fmla="*/ 0 h 6858884"/>
              <a:gd name="connsiteX1" fmla="*/ 8506948 w 8506948"/>
              <a:gd name="connsiteY1" fmla="*/ 1424 h 6858884"/>
              <a:gd name="connsiteX2" fmla="*/ 2910571 w 8506948"/>
              <a:gd name="connsiteY2" fmla="*/ 6846184 h 6858884"/>
              <a:gd name="connsiteX3" fmla="*/ 0 w 8506948"/>
              <a:gd name="connsiteY3" fmla="*/ 6858884 h 6858884"/>
              <a:gd name="connsiteX4" fmla="*/ 10125 w 8506948"/>
              <a:gd name="connsiteY4" fmla="*/ 3983462 h 6858884"/>
              <a:gd name="connsiteX5" fmla="*/ 1597581 w 8506948"/>
              <a:gd name="connsiteY5" fmla="*/ 0 h 6858884"/>
              <a:gd name="connsiteX0" fmla="*/ 2083733 w 8993100"/>
              <a:gd name="connsiteY0" fmla="*/ 0 h 6858884"/>
              <a:gd name="connsiteX1" fmla="*/ 8993100 w 8993100"/>
              <a:gd name="connsiteY1" fmla="*/ 1424 h 6858884"/>
              <a:gd name="connsiteX2" fmla="*/ 3396723 w 8993100"/>
              <a:gd name="connsiteY2" fmla="*/ 6846184 h 6858884"/>
              <a:gd name="connsiteX3" fmla="*/ 486152 w 8993100"/>
              <a:gd name="connsiteY3" fmla="*/ 6858884 h 6858884"/>
              <a:gd name="connsiteX4" fmla="*/ 0 w 8993100"/>
              <a:gd name="connsiteY4" fmla="*/ 5136231 h 6858884"/>
              <a:gd name="connsiteX5" fmla="*/ 2083733 w 8993100"/>
              <a:gd name="connsiteY5" fmla="*/ 0 h 6858884"/>
              <a:gd name="connsiteX0" fmla="*/ 2083733 w 8993100"/>
              <a:gd name="connsiteY0" fmla="*/ 0 h 6862792"/>
              <a:gd name="connsiteX1" fmla="*/ 8993100 w 8993100"/>
              <a:gd name="connsiteY1" fmla="*/ 1424 h 6862792"/>
              <a:gd name="connsiteX2" fmla="*/ 3396723 w 8993100"/>
              <a:gd name="connsiteY2" fmla="*/ 6846184 h 6862792"/>
              <a:gd name="connsiteX3" fmla="*/ 9413 w 8993100"/>
              <a:gd name="connsiteY3" fmla="*/ 6862792 h 6862792"/>
              <a:gd name="connsiteX4" fmla="*/ 0 w 8993100"/>
              <a:gd name="connsiteY4" fmla="*/ 5136231 h 6862792"/>
              <a:gd name="connsiteX5" fmla="*/ 2083733 w 8993100"/>
              <a:gd name="connsiteY5" fmla="*/ 0 h 6862792"/>
              <a:gd name="connsiteX0" fmla="*/ 2083733 w 8993100"/>
              <a:gd name="connsiteY0" fmla="*/ 0 h 6862792"/>
              <a:gd name="connsiteX1" fmla="*/ 8993100 w 8993100"/>
              <a:gd name="connsiteY1" fmla="*/ 1424 h 6862792"/>
              <a:gd name="connsiteX2" fmla="*/ 3396723 w 8993100"/>
              <a:gd name="connsiteY2" fmla="*/ 6846184 h 6862792"/>
              <a:gd name="connsiteX3" fmla="*/ 9413 w 8993100"/>
              <a:gd name="connsiteY3" fmla="*/ 6862792 h 6862792"/>
              <a:gd name="connsiteX4" fmla="*/ 0 w 8993100"/>
              <a:gd name="connsiteY4" fmla="*/ 5124508 h 6862792"/>
              <a:gd name="connsiteX5" fmla="*/ 2083733 w 8993100"/>
              <a:gd name="connsiteY5" fmla="*/ 0 h 6862792"/>
              <a:gd name="connsiteX0" fmla="*/ 2083733 w 8993100"/>
              <a:gd name="connsiteY0" fmla="*/ 0 h 6862792"/>
              <a:gd name="connsiteX1" fmla="*/ 8993100 w 8993100"/>
              <a:gd name="connsiteY1" fmla="*/ 1424 h 6862792"/>
              <a:gd name="connsiteX2" fmla="*/ 3388908 w 8993100"/>
              <a:gd name="connsiteY2" fmla="*/ 6857907 h 6862792"/>
              <a:gd name="connsiteX3" fmla="*/ 9413 w 8993100"/>
              <a:gd name="connsiteY3" fmla="*/ 6862792 h 6862792"/>
              <a:gd name="connsiteX4" fmla="*/ 0 w 8993100"/>
              <a:gd name="connsiteY4" fmla="*/ 5124508 h 6862792"/>
              <a:gd name="connsiteX5" fmla="*/ 2083733 w 8993100"/>
              <a:gd name="connsiteY5" fmla="*/ 0 h 6862792"/>
              <a:gd name="connsiteX0" fmla="*/ 2083733 w 8993100"/>
              <a:gd name="connsiteY0" fmla="*/ 0 h 6862792"/>
              <a:gd name="connsiteX1" fmla="*/ 8993100 w 8993100"/>
              <a:gd name="connsiteY1" fmla="*/ 1424 h 6862792"/>
              <a:gd name="connsiteX2" fmla="*/ 3388908 w 8993100"/>
              <a:gd name="connsiteY2" fmla="*/ 6857907 h 6862792"/>
              <a:gd name="connsiteX3" fmla="*/ 9413 w 8993100"/>
              <a:gd name="connsiteY3" fmla="*/ 6862792 h 6862792"/>
              <a:gd name="connsiteX4" fmla="*/ 0 w 8993100"/>
              <a:gd name="connsiteY4" fmla="*/ 5124508 h 6862792"/>
              <a:gd name="connsiteX5" fmla="*/ 2083733 w 8993100"/>
              <a:gd name="connsiteY5" fmla="*/ 0 h 6862792"/>
              <a:gd name="connsiteX0" fmla="*/ 2083733 w 8993100"/>
              <a:gd name="connsiteY0" fmla="*/ 0 h 6857907"/>
              <a:gd name="connsiteX1" fmla="*/ 8993100 w 8993100"/>
              <a:gd name="connsiteY1" fmla="*/ 1424 h 6857907"/>
              <a:gd name="connsiteX2" fmla="*/ 3388908 w 8993100"/>
              <a:gd name="connsiteY2" fmla="*/ 6857907 h 6857907"/>
              <a:gd name="connsiteX3" fmla="*/ 99290 w 8993100"/>
              <a:gd name="connsiteY3" fmla="*/ 6851069 h 6857907"/>
              <a:gd name="connsiteX4" fmla="*/ 0 w 8993100"/>
              <a:gd name="connsiteY4" fmla="*/ 5124508 h 6857907"/>
              <a:gd name="connsiteX5" fmla="*/ 2083733 w 8993100"/>
              <a:gd name="connsiteY5" fmla="*/ 0 h 6857907"/>
              <a:gd name="connsiteX0" fmla="*/ 2083733 w 8993100"/>
              <a:gd name="connsiteY0" fmla="*/ 0 h 6862792"/>
              <a:gd name="connsiteX1" fmla="*/ 8993100 w 8993100"/>
              <a:gd name="connsiteY1" fmla="*/ 1424 h 6862792"/>
              <a:gd name="connsiteX2" fmla="*/ 3388908 w 8993100"/>
              <a:gd name="connsiteY2" fmla="*/ 6857907 h 6862792"/>
              <a:gd name="connsiteX3" fmla="*/ 5505 w 8993100"/>
              <a:gd name="connsiteY3" fmla="*/ 6862792 h 6862792"/>
              <a:gd name="connsiteX4" fmla="*/ 0 w 8993100"/>
              <a:gd name="connsiteY4" fmla="*/ 5124508 h 6862792"/>
              <a:gd name="connsiteX5" fmla="*/ 2083733 w 8993100"/>
              <a:gd name="connsiteY5" fmla="*/ 0 h 6862792"/>
              <a:gd name="connsiteX0" fmla="*/ 2083733 w 8993100"/>
              <a:gd name="connsiteY0" fmla="*/ 0 h 6867554"/>
              <a:gd name="connsiteX1" fmla="*/ 8993100 w 8993100"/>
              <a:gd name="connsiteY1" fmla="*/ 6186 h 6867554"/>
              <a:gd name="connsiteX2" fmla="*/ 3388908 w 8993100"/>
              <a:gd name="connsiteY2" fmla="*/ 6862669 h 6867554"/>
              <a:gd name="connsiteX3" fmla="*/ 5505 w 8993100"/>
              <a:gd name="connsiteY3" fmla="*/ 6867554 h 6867554"/>
              <a:gd name="connsiteX4" fmla="*/ 0 w 8993100"/>
              <a:gd name="connsiteY4" fmla="*/ 5129270 h 6867554"/>
              <a:gd name="connsiteX5" fmla="*/ 2083733 w 8993100"/>
              <a:gd name="connsiteY5" fmla="*/ 0 h 6867554"/>
              <a:gd name="connsiteX0" fmla="*/ 2083733 w 8791676"/>
              <a:gd name="connsiteY0" fmla="*/ 0 h 6867554"/>
              <a:gd name="connsiteX1" fmla="*/ 8791676 w 8791676"/>
              <a:gd name="connsiteY1" fmla="*/ 22172 h 6867554"/>
              <a:gd name="connsiteX2" fmla="*/ 3388908 w 8791676"/>
              <a:gd name="connsiteY2" fmla="*/ 6862669 h 6867554"/>
              <a:gd name="connsiteX3" fmla="*/ 5505 w 8791676"/>
              <a:gd name="connsiteY3" fmla="*/ 6867554 h 6867554"/>
              <a:gd name="connsiteX4" fmla="*/ 0 w 8791676"/>
              <a:gd name="connsiteY4" fmla="*/ 5129270 h 6867554"/>
              <a:gd name="connsiteX5" fmla="*/ 2083733 w 8791676"/>
              <a:gd name="connsiteY5" fmla="*/ 0 h 6867554"/>
              <a:gd name="connsiteX0" fmla="*/ 2083733 w 8948339"/>
              <a:gd name="connsiteY0" fmla="*/ 208 h 6867762"/>
              <a:gd name="connsiteX1" fmla="*/ 8948339 w 8948339"/>
              <a:gd name="connsiteY1" fmla="*/ 0 h 6867762"/>
              <a:gd name="connsiteX2" fmla="*/ 3388908 w 8948339"/>
              <a:gd name="connsiteY2" fmla="*/ 6862877 h 6867762"/>
              <a:gd name="connsiteX3" fmla="*/ 5505 w 8948339"/>
              <a:gd name="connsiteY3" fmla="*/ 6867762 h 6867762"/>
              <a:gd name="connsiteX4" fmla="*/ 0 w 8948339"/>
              <a:gd name="connsiteY4" fmla="*/ 5129478 h 6867762"/>
              <a:gd name="connsiteX5" fmla="*/ 2083733 w 8948339"/>
              <a:gd name="connsiteY5" fmla="*/ 208 h 68677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948339" h="6867762">
                <a:moveTo>
                  <a:pt x="2083733" y="208"/>
                </a:moveTo>
                <a:lnTo>
                  <a:pt x="8948339" y="0"/>
                </a:lnTo>
                <a:lnTo>
                  <a:pt x="3388908" y="6862877"/>
                </a:lnTo>
                <a:lnTo>
                  <a:pt x="5505" y="6867762"/>
                </a:lnTo>
                <a:cubicBezTo>
                  <a:pt x="5505" y="6488575"/>
                  <a:pt x="0" y="5508665"/>
                  <a:pt x="0" y="5129478"/>
                </a:cubicBezTo>
                <a:lnTo>
                  <a:pt x="2083733" y="208"/>
                </a:lnTo>
                <a:close/>
              </a:path>
            </a:pathLst>
          </a:custGeom>
          <a:solidFill>
            <a:srgbClr val="55575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1866737" y="3588760"/>
            <a:ext cx="6604000" cy="0"/>
          </a:xfrm>
          <a:prstGeom prst="line">
            <a:avLst/>
          </a:prstGeom>
          <a:ln w="12700" cmpd="sng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19"/>
          <p:cNvSpPr>
            <a:spLocks noGrp="1"/>
          </p:cNvSpPr>
          <p:nvPr>
            <p:ph type="body" sz="quarter" idx="18" hasCustomPrompt="1"/>
          </p:nvPr>
        </p:nvSpPr>
        <p:spPr>
          <a:xfrm>
            <a:off x="1866739" y="3692359"/>
            <a:ext cx="5576799" cy="343400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FontTx/>
              <a:buNone/>
              <a:defRPr sz="1600" cap="all">
                <a:solidFill>
                  <a:schemeClr val="accent2"/>
                </a:solidFill>
                <a:latin typeface="+mn-lt"/>
              </a:defRPr>
            </a:lvl1pPr>
          </a:lstStyle>
          <a:p>
            <a:r>
              <a:rPr lang="en-US" sz="1600" dirty="0"/>
              <a:t>Click to edit SUB TITLE</a:t>
            </a:r>
          </a:p>
        </p:txBody>
      </p:sp>
      <p:sp>
        <p:nvSpPr>
          <p:cNvPr id="13" name="Text Placeholder 23"/>
          <p:cNvSpPr>
            <a:spLocks noGrp="1"/>
          </p:cNvSpPr>
          <p:nvPr>
            <p:ph type="body" sz="quarter" idx="19"/>
          </p:nvPr>
        </p:nvSpPr>
        <p:spPr>
          <a:xfrm>
            <a:off x="1866740" y="3059449"/>
            <a:ext cx="6154313" cy="452437"/>
          </a:xfrm>
          <a:prstGeom prst="rect">
            <a:avLst/>
          </a:prstGeom>
        </p:spPr>
        <p:txBody>
          <a:bodyPr vert="horz" lIns="0" rIns="0" bIns="0" anchor="b"/>
          <a:lstStyle>
            <a:lvl1pPr marL="0" indent="0">
              <a:buFontTx/>
              <a:buNone/>
              <a:defRPr sz="2500" cap="all" baseline="0">
                <a:solidFill>
                  <a:schemeClr val="bg1"/>
                </a:solidFill>
                <a:latin typeface="+mj-lt"/>
              </a:defRPr>
            </a:lvl1pPr>
            <a:lvl2pPr marL="457178" indent="0">
              <a:buFontTx/>
              <a:buNone/>
              <a:defRPr sz="2400" cap="all" baseline="0">
                <a:solidFill>
                  <a:schemeClr val="bg1"/>
                </a:solidFill>
              </a:defRPr>
            </a:lvl2pPr>
            <a:lvl3pPr marL="914354" indent="0">
              <a:buFontTx/>
              <a:buNone/>
              <a:defRPr sz="2400" cap="all" baseline="0">
                <a:solidFill>
                  <a:schemeClr val="bg1"/>
                </a:solidFill>
              </a:defRPr>
            </a:lvl3pPr>
            <a:lvl4pPr marL="1371532" indent="0">
              <a:buFontTx/>
              <a:buNone/>
              <a:defRPr sz="2400" cap="all" baseline="0">
                <a:solidFill>
                  <a:schemeClr val="bg1"/>
                </a:solidFill>
              </a:defRPr>
            </a:lvl4pPr>
            <a:lvl5pPr marL="1828709" indent="0">
              <a:buFontTx/>
              <a:buNone/>
              <a:defRPr sz="2400" cap="all" baseline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5" name="Freeform 14"/>
          <p:cNvSpPr/>
          <p:nvPr userDrawn="1"/>
        </p:nvSpPr>
        <p:spPr>
          <a:xfrm>
            <a:off x="-8596" y="-3908"/>
            <a:ext cx="2781343" cy="5136220"/>
          </a:xfrm>
          <a:custGeom>
            <a:avLst/>
            <a:gdLst>
              <a:gd name="connsiteX0" fmla="*/ 0 w 1661746"/>
              <a:gd name="connsiteY0" fmla="*/ 0 h 4044462"/>
              <a:gd name="connsiteX1" fmla="*/ 1661746 w 1661746"/>
              <a:gd name="connsiteY1" fmla="*/ 0 h 4044462"/>
              <a:gd name="connsiteX2" fmla="*/ 17585 w 1661746"/>
              <a:gd name="connsiteY2" fmla="*/ 4044462 h 4044462"/>
              <a:gd name="connsiteX3" fmla="*/ 0 w 1661746"/>
              <a:gd name="connsiteY3" fmla="*/ 0 h 4044462"/>
              <a:gd name="connsiteX0" fmla="*/ 0 w 1661746"/>
              <a:gd name="connsiteY0" fmla="*/ 0 h 4039867"/>
              <a:gd name="connsiteX1" fmla="*/ 1661746 w 1661746"/>
              <a:gd name="connsiteY1" fmla="*/ 0 h 4039867"/>
              <a:gd name="connsiteX2" fmla="*/ 12990 w 1661746"/>
              <a:gd name="connsiteY2" fmla="*/ 4039867 h 4039867"/>
              <a:gd name="connsiteX3" fmla="*/ 0 w 1661746"/>
              <a:gd name="connsiteY3" fmla="*/ 0 h 4039867"/>
              <a:gd name="connsiteX0" fmla="*/ 170948 w 1648895"/>
              <a:gd name="connsiteY0" fmla="*/ 284889 h 4039867"/>
              <a:gd name="connsiteX1" fmla="*/ 1648895 w 1648895"/>
              <a:gd name="connsiteY1" fmla="*/ 0 h 4039867"/>
              <a:gd name="connsiteX2" fmla="*/ 139 w 1648895"/>
              <a:gd name="connsiteY2" fmla="*/ 4039867 h 4039867"/>
              <a:gd name="connsiteX3" fmla="*/ 170948 w 1648895"/>
              <a:gd name="connsiteY3" fmla="*/ 284889 h 4039867"/>
              <a:gd name="connsiteX0" fmla="*/ 170948 w 1653490"/>
              <a:gd name="connsiteY0" fmla="*/ 225154 h 3980132"/>
              <a:gd name="connsiteX1" fmla="*/ 1653490 w 1653490"/>
              <a:gd name="connsiteY1" fmla="*/ 0 h 3980132"/>
              <a:gd name="connsiteX2" fmla="*/ 139 w 1653490"/>
              <a:gd name="connsiteY2" fmla="*/ 3980132 h 3980132"/>
              <a:gd name="connsiteX3" fmla="*/ 170948 w 1653490"/>
              <a:gd name="connsiteY3" fmla="*/ 225154 h 3980132"/>
              <a:gd name="connsiteX0" fmla="*/ 170948 w 1658085"/>
              <a:gd name="connsiteY0" fmla="*/ 284889 h 4039867"/>
              <a:gd name="connsiteX1" fmla="*/ 1658085 w 1658085"/>
              <a:gd name="connsiteY1" fmla="*/ 0 h 4039867"/>
              <a:gd name="connsiteX2" fmla="*/ 139 w 1658085"/>
              <a:gd name="connsiteY2" fmla="*/ 4039867 h 4039867"/>
              <a:gd name="connsiteX3" fmla="*/ 170948 w 1658085"/>
              <a:gd name="connsiteY3" fmla="*/ 284889 h 4039867"/>
              <a:gd name="connsiteX0" fmla="*/ 0 w 1666341"/>
              <a:gd name="connsiteY0" fmla="*/ 4595 h 4039867"/>
              <a:gd name="connsiteX1" fmla="*/ 1666341 w 1666341"/>
              <a:gd name="connsiteY1" fmla="*/ 0 h 4039867"/>
              <a:gd name="connsiteX2" fmla="*/ 8395 w 1666341"/>
              <a:gd name="connsiteY2" fmla="*/ 4039867 h 4039867"/>
              <a:gd name="connsiteX3" fmla="*/ 0 w 1666341"/>
              <a:gd name="connsiteY3" fmla="*/ 4595 h 4039867"/>
              <a:gd name="connsiteX0" fmla="*/ 0 w 1666341"/>
              <a:gd name="connsiteY0" fmla="*/ 4595 h 4035272"/>
              <a:gd name="connsiteX1" fmla="*/ 1666341 w 1666341"/>
              <a:gd name="connsiteY1" fmla="*/ 0 h 4035272"/>
              <a:gd name="connsiteX2" fmla="*/ 8395 w 1666341"/>
              <a:gd name="connsiteY2" fmla="*/ 4035272 h 4035272"/>
              <a:gd name="connsiteX3" fmla="*/ 0 w 1666341"/>
              <a:gd name="connsiteY3" fmla="*/ 4595 h 4035272"/>
              <a:gd name="connsiteX0" fmla="*/ 56296 w 1658307"/>
              <a:gd name="connsiteY0" fmla="*/ 114874 h 4035272"/>
              <a:gd name="connsiteX1" fmla="*/ 1658307 w 1658307"/>
              <a:gd name="connsiteY1" fmla="*/ 0 h 4035272"/>
              <a:gd name="connsiteX2" fmla="*/ 361 w 1658307"/>
              <a:gd name="connsiteY2" fmla="*/ 4035272 h 4035272"/>
              <a:gd name="connsiteX3" fmla="*/ 56296 w 1658307"/>
              <a:gd name="connsiteY3" fmla="*/ 114874 h 4035272"/>
              <a:gd name="connsiteX0" fmla="*/ 2400 w 1659551"/>
              <a:gd name="connsiteY0" fmla="*/ 9190 h 4035272"/>
              <a:gd name="connsiteX1" fmla="*/ 1659551 w 1659551"/>
              <a:gd name="connsiteY1" fmla="*/ 0 h 4035272"/>
              <a:gd name="connsiteX2" fmla="*/ 1605 w 1659551"/>
              <a:gd name="connsiteY2" fmla="*/ 4035272 h 4035272"/>
              <a:gd name="connsiteX3" fmla="*/ 2400 w 1659551"/>
              <a:gd name="connsiteY3" fmla="*/ 9190 h 4035272"/>
              <a:gd name="connsiteX0" fmla="*/ 146 w 1659873"/>
              <a:gd name="connsiteY0" fmla="*/ 6614 h 4035272"/>
              <a:gd name="connsiteX1" fmla="*/ 1659873 w 1659873"/>
              <a:gd name="connsiteY1" fmla="*/ 0 h 4035272"/>
              <a:gd name="connsiteX2" fmla="*/ 1927 w 1659873"/>
              <a:gd name="connsiteY2" fmla="*/ 4035272 h 4035272"/>
              <a:gd name="connsiteX3" fmla="*/ 146 w 1659873"/>
              <a:gd name="connsiteY3" fmla="*/ 6614 h 4035272"/>
              <a:gd name="connsiteX0" fmla="*/ 146 w 1649570"/>
              <a:gd name="connsiteY0" fmla="*/ 0 h 4028658"/>
              <a:gd name="connsiteX1" fmla="*/ 1649570 w 1649570"/>
              <a:gd name="connsiteY1" fmla="*/ 11416 h 4028658"/>
              <a:gd name="connsiteX2" fmla="*/ 1927 w 1649570"/>
              <a:gd name="connsiteY2" fmla="*/ 4028658 h 4028658"/>
              <a:gd name="connsiteX3" fmla="*/ 146 w 1649570"/>
              <a:gd name="connsiteY3" fmla="*/ 0 h 4028658"/>
              <a:gd name="connsiteX0" fmla="*/ 57814 w 1647996"/>
              <a:gd name="connsiteY0" fmla="*/ 109645 h 4017242"/>
              <a:gd name="connsiteX1" fmla="*/ 1647996 w 1647996"/>
              <a:gd name="connsiteY1" fmla="*/ 0 h 4017242"/>
              <a:gd name="connsiteX2" fmla="*/ 353 w 1647996"/>
              <a:gd name="connsiteY2" fmla="*/ 4017242 h 4017242"/>
              <a:gd name="connsiteX3" fmla="*/ 57814 w 1647996"/>
              <a:gd name="connsiteY3" fmla="*/ 109645 h 4017242"/>
              <a:gd name="connsiteX0" fmla="*/ 52689 w 1648022"/>
              <a:gd name="connsiteY0" fmla="*/ 65857 h 4017242"/>
              <a:gd name="connsiteX1" fmla="*/ 1648022 w 1648022"/>
              <a:gd name="connsiteY1" fmla="*/ 0 h 4017242"/>
              <a:gd name="connsiteX2" fmla="*/ 379 w 1648022"/>
              <a:gd name="connsiteY2" fmla="*/ 4017242 h 4017242"/>
              <a:gd name="connsiteX3" fmla="*/ 52689 w 1648022"/>
              <a:gd name="connsiteY3" fmla="*/ 65857 h 4017242"/>
              <a:gd name="connsiteX0" fmla="*/ 9598 w 1648720"/>
              <a:gd name="connsiteY0" fmla="*/ 0 h 4020931"/>
              <a:gd name="connsiteX1" fmla="*/ 1648720 w 1648720"/>
              <a:gd name="connsiteY1" fmla="*/ 3689 h 4020931"/>
              <a:gd name="connsiteX2" fmla="*/ 1077 w 1648720"/>
              <a:gd name="connsiteY2" fmla="*/ 4020931 h 4020931"/>
              <a:gd name="connsiteX3" fmla="*/ 9598 w 1648720"/>
              <a:gd name="connsiteY3" fmla="*/ 0 h 4020931"/>
              <a:gd name="connsiteX0" fmla="*/ 12067 w 1651189"/>
              <a:gd name="connsiteY0" fmla="*/ 0 h 4023507"/>
              <a:gd name="connsiteX1" fmla="*/ 1651189 w 1651189"/>
              <a:gd name="connsiteY1" fmla="*/ 3689 h 4023507"/>
              <a:gd name="connsiteX2" fmla="*/ 971 w 1651189"/>
              <a:gd name="connsiteY2" fmla="*/ 4023507 h 4023507"/>
              <a:gd name="connsiteX3" fmla="*/ 12067 w 1651189"/>
              <a:gd name="connsiteY3" fmla="*/ 0 h 4023507"/>
              <a:gd name="connsiteX0" fmla="*/ 0 w 1639122"/>
              <a:gd name="connsiteY0" fmla="*/ 0 h 4023507"/>
              <a:gd name="connsiteX1" fmla="*/ 1639122 w 1639122"/>
              <a:gd name="connsiteY1" fmla="*/ 3689 h 4023507"/>
              <a:gd name="connsiteX2" fmla="*/ 6935 w 1639122"/>
              <a:gd name="connsiteY2" fmla="*/ 4023507 h 4023507"/>
              <a:gd name="connsiteX3" fmla="*/ 0 w 1639122"/>
              <a:gd name="connsiteY3" fmla="*/ 0 h 4023507"/>
              <a:gd name="connsiteX0" fmla="*/ 17059 w 1656181"/>
              <a:gd name="connsiteY0" fmla="*/ 0 h 4015780"/>
              <a:gd name="connsiteX1" fmla="*/ 1656181 w 1656181"/>
              <a:gd name="connsiteY1" fmla="*/ 3689 h 4015780"/>
              <a:gd name="connsiteX2" fmla="*/ 812 w 1656181"/>
              <a:gd name="connsiteY2" fmla="*/ 4015780 h 4015780"/>
              <a:gd name="connsiteX3" fmla="*/ 17059 w 1656181"/>
              <a:gd name="connsiteY3" fmla="*/ 0 h 4015780"/>
              <a:gd name="connsiteX0" fmla="*/ 0 w 1639122"/>
              <a:gd name="connsiteY0" fmla="*/ 0 h 3899870"/>
              <a:gd name="connsiteX1" fmla="*/ 1639122 w 1639122"/>
              <a:gd name="connsiteY1" fmla="*/ 3689 h 3899870"/>
              <a:gd name="connsiteX2" fmla="*/ 73905 w 1639122"/>
              <a:gd name="connsiteY2" fmla="*/ 3899870 h 3899870"/>
              <a:gd name="connsiteX3" fmla="*/ 0 w 1639122"/>
              <a:gd name="connsiteY3" fmla="*/ 0 h 3899870"/>
              <a:gd name="connsiteX0" fmla="*/ 0 w 1639122"/>
              <a:gd name="connsiteY0" fmla="*/ 0 h 3987447"/>
              <a:gd name="connsiteX1" fmla="*/ 1639122 w 1639122"/>
              <a:gd name="connsiteY1" fmla="*/ 3689 h 3987447"/>
              <a:gd name="connsiteX2" fmla="*/ 6935 w 1639122"/>
              <a:gd name="connsiteY2" fmla="*/ 3987447 h 3987447"/>
              <a:gd name="connsiteX3" fmla="*/ 0 w 1639122"/>
              <a:gd name="connsiteY3" fmla="*/ 0 h 3987447"/>
              <a:gd name="connsiteX0" fmla="*/ 144 w 1639266"/>
              <a:gd name="connsiteY0" fmla="*/ 0 h 3987447"/>
              <a:gd name="connsiteX1" fmla="*/ 1639266 w 1639266"/>
              <a:gd name="connsiteY1" fmla="*/ 3689 h 3987447"/>
              <a:gd name="connsiteX2" fmla="*/ 1927 w 1639266"/>
              <a:gd name="connsiteY2" fmla="*/ 3987447 h 3987447"/>
              <a:gd name="connsiteX3" fmla="*/ 144 w 1639266"/>
              <a:gd name="connsiteY3" fmla="*/ 0 h 3987447"/>
              <a:gd name="connsiteX0" fmla="*/ 2397 w 1641519"/>
              <a:gd name="connsiteY0" fmla="*/ 0 h 3995174"/>
              <a:gd name="connsiteX1" fmla="*/ 1641519 w 1641519"/>
              <a:gd name="connsiteY1" fmla="*/ 3689 h 3995174"/>
              <a:gd name="connsiteX2" fmla="*/ 1605 w 1641519"/>
              <a:gd name="connsiteY2" fmla="*/ 3995174 h 3995174"/>
              <a:gd name="connsiteX3" fmla="*/ 2397 w 1641519"/>
              <a:gd name="connsiteY3" fmla="*/ 0 h 3995174"/>
              <a:gd name="connsiteX0" fmla="*/ 9681 w 1648803"/>
              <a:gd name="connsiteY0" fmla="*/ 0 h 5116681"/>
              <a:gd name="connsiteX1" fmla="*/ 1648803 w 1648803"/>
              <a:gd name="connsiteY1" fmla="*/ 3689 h 5116681"/>
              <a:gd name="connsiteX2" fmla="*/ 1073 w 1648803"/>
              <a:gd name="connsiteY2" fmla="*/ 5116681 h 5116681"/>
              <a:gd name="connsiteX3" fmla="*/ 9681 w 1648803"/>
              <a:gd name="connsiteY3" fmla="*/ 0 h 5116681"/>
              <a:gd name="connsiteX0" fmla="*/ 9681 w 2078650"/>
              <a:gd name="connsiteY0" fmla="*/ 0 h 5116681"/>
              <a:gd name="connsiteX1" fmla="*/ 2078650 w 2078650"/>
              <a:gd name="connsiteY1" fmla="*/ 3689 h 5116681"/>
              <a:gd name="connsiteX2" fmla="*/ 1073 w 2078650"/>
              <a:gd name="connsiteY2" fmla="*/ 5116681 h 5116681"/>
              <a:gd name="connsiteX3" fmla="*/ 9681 w 2078650"/>
              <a:gd name="connsiteY3" fmla="*/ 0 h 5116681"/>
              <a:gd name="connsiteX0" fmla="*/ 5986 w 2078862"/>
              <a:gd name="connsiteY0" fmla="*/ 0 h 5120589"/>
              <a:gd name="connsiteX1" fmla="*/ 2078862 w 2078862"/>
              <a:gd name="connsiteY1" fmla="*/ 7597 h 5120589"/>
              <a:gd name="connsiteX2" fmla="*/ 1285 w 2078862"/>
              <a:gd name="connsiteY2" fmla="*/ 5120589 h 5120589"/>
              <a:gd name="connsiteX3" fmla="*/ 5986 w 2078862"/>
              <a:gd name="connsiteY3" fmla="*/ 0 h 5120589"/>
              <a:gd name="connsiteX0" fmla="*/ 2400 w 2075276"/>
              <a:gd name="connsiteY0" fmla="*/ 0 h 5108866"/>
              <a:gd name="connsiteX1" fmla="*/ 2075276 w 2075276"/>
              <a:gd name="connsiteY1" fmla="*/ 7597 h 5108866"/>
              <a:gd name="connsiteX2" fmla="*/ 1606 w 2075276"/>
              <a:gd name="connsiteY2" fmla="*/ 5108866 h 5108866"/>
              <a:gd name="connsiteX3" fmla="*/ 2400 w 2075276"/>
              <a:gd name="connsiteY3" fmla="*/ 0 h 5108866"/>
              <a:gd name="connsiteX0" fmla="*/ 5987 w 2078863"/>
              <a:gd name="connsiteY0" fmla="*/ 0 h 5136220"/>
              <a:gd name="connsiteX1" fmla="*/ 2078863 w 2078863"/>
              <a:gd name="connsiteY1" fmla="*/ 7597 h 5136220"/>
              <a:gd name="connsiteX2" fmla="*/ 1285 w 2078863"/>
              <a:gd name="connsiteY2" fmla="*/ 5136220 h 5136220"/>
              <a:gd name="connsiteX3" fmla="*/ 5987 w 2078863"/>
              <a:gd name="connsiteY3" fmla="*/ 0 h 5136220"/>
              <a:gd name="connsiteX0" fmla="*/ 5987 w 2086007"/>
              <a:gd name="connsiteY0" fmla="*/ 0 h 5136220"/>
              <a:gd name="connsiteX1" fmla="*/ 2086007 w 2086007"/>
              <a:gd name="connsiteY1" fmla="*/ 2835 h 5136220"/>
              <a:gd name="connsiteX2" fmla="*/ 1285 w 2086007"/>
              <a:gd name="connsiteY2" fmla="*/ 5136220 h 5136220"/>
              <a:gd name="connsiteX3" fmla="*/ 5987 w 2086007"/>
              <a:gd name="connsiteY3" fmla="*/ 0 h 51362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086007" h="5136220">
                <a:moveTo>
                  <a:pt x="5987" y="0"/>
                </a:moveTo>
                <a:lnTo>
                  <a:pt x="2086007" y="2835"/>
                </a:lnTo>
                <a:cubicBezTo>
                  <a:pt x="1539369" y="1333330"/>
                  <a:pt x="547923" y="3805725"/>
                  <a:pt x="1285" y="5136220"/>
                </a:cubicBezTo>
                <a:cubicBezTo>
                  <a:pt x="-4577" y="3790997"/>
                  <a:pt x="11849" y="1354016"/>
                  <a:pt x="5987" y="0"/>
                </a:cubicBezTo>
                <a:close/>
              </a:path>
            </a:pathLst>
          </a:custGeom>
          <a:gradFill>
            <a:gsLst>
              <a:gs pos="0">
                <a:srgbClr val="648C1A"/>
              </a:gs>
              <a:gs pos="100000">
                <a:schemeClr val="accent2"/>
              </a:gs>
            </a:gsLst>
            <a:lin ang="108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64139" y="5666597"/>
            <a:ext cx="3174831" cy="874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22570554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with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"/>
          <p:cNvSpPr>
            <a:spLocks noGrp="1"/>
          </p:cNvSpPr>
          <p:nvPr>
            <p:ph idx="1"/>
          </p:nvPr>
        </p:nvSpPr>
        <p:spPr bwMode="gray">
          <a:xfrm>
            <a:off x="287453" y="1944002"/>
            <a:ext cx="11625600" cy="4225156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fontAlgn="base">
              <a:lnSpc>
                <a:spcPct val="100000"/>
              </a:lnSpc>
              <a:spcAft>
                <a:spcPts val="0"/>
              </a:spcAft>
              <a:defRPr lang="en-US" sz="1400" dirty="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sz="1400" dirty="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sz="1400" dirty="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sz="1400" dirty="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sz="1400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/>
            </a:lvl6pPr>
            <a:lvl7pPr fontAlgn="base">
              <a:lnSpc>
                <a:spcPct val="100000"/>
              </a:lnSpc>
              <a:spcAft>
                <a:spcPts val="0"/>
              </a:spcAft>
              <a:defRPr/>
            </a:lvl7pPr>
            <a:lvl8pPr fontAlgn="base">
              <a:lnSpc>
                <a:spcPct val="100000"/>
              </a:lnSpc>
              <a:spcAft>
                <a:spcPts val="0"/>
              </a:spcAft>
              <a:defRPr/>
            </a:lvl8pPr>
            <a:lvl9pPr fontAlgn="base">
              <a:lnSpc>
                <a:spcPct val="100000"/>
              </a:lnSpc>
              <a:spcAft>
                <a:spcPts val="0"/>
              </a:spcAft>
              <a:defRPr/>
            </a:lvl9pPr>
          </a:lstStyle>
          <a:p>
            <a:pPr lvl="0"/>
            <a:r>
              <a:rPr lang="en-US" altLang="ja-JP"/>
              <a:t>Click to edit Master text styles</a:t>
            </a:r>
          </a:p>
          <a:p>
            <a:pPr lvl="1"/>
            <a:r>
              <a:rPr lang="en-US" altLang="ja-JP"/>
              <a:t>Second level</a:t>
            </a:r>
          </a:p>
          <a:p>
            <a:pPr lvl="2"/>
            <a:r>
              <a:rPr lang="en-US" altLang="ja-JP"/>
              <a:t>Third level</a:t>
            </a:r>
          </a:p>
          <a:p>
            <a:pPr lvl="3"/>
            <a:r>
              <a:rPr lang="en-US" altLang="ja-JP"/>
              <a:t>Fourth level</a:t>
            </a:r>
          </a:p>
          <a:p>
            <a:pPr lvl="4"/>
            <a:r>
              <a:rPr lang="en-US" altLang="ja-JP"/>
              <a:t>Fifth level</a:t>
            </a:r>
            <a:endParaRPr lang="en-GB" dirty="0"/>
          </a:p>
        </p:txBody>
      </p:sp>
      <p:sp>
        <p:nvSpPr>
          <p:cNvPr id="8" name="Heading 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287453" y="1341115"/>
            <a:ext cx="11625600" cy="430887"/>
          </a:xfrm>
        </p:spPr>
        <p:txBody>
          <a:bodyPr wrap="square" lIns="0" tIns="0" rIns="0" bIns="0"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400" b="1">
                <a:solidFill>
                  <a:schemeClr val="accent1"/>
                </a:solidFill>
                <a:latin typeface="+mn-lt"/>
                <a:sym typeface="+mn-lt"/>
              </a:defRPr>
            </a:lvl1pPr>
            <a:lvl2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400">
                <a:solidFill>
                  <a:schemeClr val="accent1"/>
                </a:solidFill>
                <a:latin typeface="+mn-lt"/>
                <a:sym typeface="+mn-lt"/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Heading 14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4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6" name="Title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gray">
          <a:xfrm>
            <a:off x="287453" y="1"/>
            <a:ext cx="11625600" cy="1011600"/>
          </a:xfrm>
          <a:prstGeom prst="rect">
            <a:avLst/>
          </a:prstGeom>
        </p:spPr>
        <p:txBody>
          <a:bodyPr anchor="b"/>
          <a:lstStyle/>
          <a:p>
            <a:pPr lvl="0"/>
            <a:r>
              <a:rPr lang="en-US" altLang="ja-JP"/>
              <a:t>Click to edit Master title style</a:t>
            </a:r>
            <a:endParaRPr lang="en-GB" dirty="0"/>
          </a:p>
        </p:txBody>
      </p:sp>
      <p:sp>
        <p:nvSpPr>
          <p:cNvPr id="9" name="Content"/>
          <p:cNvSpPr>
            <a:spLocks noGrp="1"/>
          </p:cNvSpPr>
          <p:nvPr>
            <p:ph idx="10" hasCustomPrompt="1"/>
          </p:nvPr>
        </p:nvSpPr>
        <p:spPr bwMode="gray">
          <a:xfrm>
            <a:off x="287453" y="6046048"/>
            <a:ext cx="11625600" cy="123111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en-US" sz="800" dirty="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/>
            </a:lvl6pPr>
            <a:lvl7pPr fontAlgn="base">
              <a:lnSpc>
                <a:spcPct val="100000"/>
              </a:lnSpc>
              <a:spcAft>
                <a:spcPts val="0"/>
              </a:spcAft>
              <a:defRPr/>
            </a:lvl7pPr>
            <a:lvl8pPr fontAlgn="base">
              <a:lnSpc>
                <a:spcPct val="100000"/>
              </a:lnSpc>
              <a:spcAft>
                <a:spcPts val="0"/>
              </a:spcAft>
              <a:defRPr/>
            </a:lvl8pPr>
            <a:lvl9pPr fontAlgn="base">
              <a:lnSpc>
                <a:spcPct val="100000"/>
              </a:lnSpc>
              <a:spcAft>
                <a:spcPts val="0"/>
              </a:spcAft>
              <a:defRPr/>
            </a:lvl9pPr>
          </a:lstStyle>
          <a:p>
            <a:pPr lvl="0"/>
            <a:r>
              <a:rPr lang="en-GB" dirty="0"/>
              <a:t>Source: </a:t>
            </a:r>
          </a:p>
        </p:txBody>
      </p:sp>
    </p:spTree>
    <p:extLst>
      <p:ext uri="{BB962C8B-B14F-4D97-AF65-F5344CB8AC3E}">
        <p14:creationId xmlns:p14="http://schemas.microsoft.com/office/powerpoint/2010/main" val="906647359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6096007" y="1"/>
            <a:ext cx="6095999" cy="685713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19" name="Text Placeholder 23"/>
          <p:cNvSpPr>
            <a:spLocks noGrp="1"/>
          </p:cNvSpPr>
          <p:nvPr>
            <p:ph type="body" sz="quarter" idx="12" hasCustomPrompt="1"/>
          </p:nvPr>
        </p:nvSpPr>
        <p:spPr>
          <a:xfrm>
            <a:off x="8947053" y="858420"/>
            <a:ext cx="2963436" cy="4842504"/>
          </a:xfrm>
          <a:prstGeom prst="rect">
            <a:avLst/>
          </a:prstGeom>
        </p:spPr>
        <p:txBody>
          <a:bodyPr vert="horz" lIns="0" rIns="0" bIns="0" anchor="ctr"/>
          <a:lstStyle>
            <a:lvl1pPr marL="0" indent="0">
              <a:buFontTx/>
              <a:buNone/>
              <a:defRPr sz="2000" cap="all" baseline="0">
                <a:solidFill>
                  <a:srgbClr val="555759"/>
                </a:solidFill>
              </a:defRPr>
            </a:lvl1pPr>
            <a:lvl2pPr marL="457178" indent="0">
              <a:buFontTx/>
              <a:buNone/>
              <a:defRPr sz="2400" cap="all" baseline="0">
                <a:solidFill>
                  <a:schemeClr val="bg1"/>
                </a:solidFill>
              </a:defRPr>
            </a:lvl2pPr>
            <a:lvl3pPr marL="914354" indent="0">
              <a:buFontTx/>
              <a:buNone/>
              <a:defRPr sz="2400" cap="all" baseline="0">
                <a:solidFill>
                  <a:schemeClr val="bg1"/>
                </a:solidFill>
              </a:defRPr>
            </a:lvl3pPr>
            <a:lvl4pPr marL="1371532" indent="0">
              <a:buFontTx/>
              <a:buNone/>
              <a:defRPr sz="2400" cap="all" baseline="0">
                <a:solidFill>
                  <a:schemeClr val="bg1"/>
                </a:solidFill>
              </a:defRPr>
            </a:lvl4pPr>
            <a:lvl5pPr marL="1828709" indent="0">
              <a:buFontTx/>
              <a:buNone/>
              <a:defRPr sz="2400" cap="all" baseline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Section #:</a:t>
            </a:r>
          </a:p>
          <a:p>
            <a:pPr lvl="0"/>
            <a:r>
              <a:rPr lang="en-US" dirty="0"/>
              <a:t>Click to add text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07280" y="6400190"/>
            <a:ext cx="1303209" cy="168518"/>
          </a:xfrm>
          <a:prstGeom prst="rect">
            <a:avLst/>
          </a:prstGeom>
        </p:spPr>
      </p:pic>
      <p:sp>
        <p:nvSpPr>
          <p:cNvPr id="9" name="Rectangle 8"/>
          <p:cNvSpPr/>
          <p:nvPr userDrawn="1"/>
        </p:nvSpPr>
        <p:spPr>
          <a:xfrm>
            <a:off x="1" y="866"/>
            <a:ext cx="6096000" cy="6857135"/>
          </a:xfrm>
          <a:prstGeom prst="rect">
            <a:avLst/>
          </a:prstGeom>
          <a:solidFill>
            <a:srgbClr val="55575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pic>
        <p:nvPicPr>
          <p:cNvPr id="21" name="Picture 20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72526" y="858420"/>
            <a:ext cx="5246949" cy="48425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54613295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Right"/>
          <p:cNvSpPr>
            <a:spLocks noGrp="1"/>
          </p:cNvSpPr>
          <p:nvPr>
            <p:ph idx="11"/>
          </p:nvPr>
        </p:nvSpPr>
        <p:spPr bwMode="gray">
          <a:xfrm>
            <a:off x="6393053" y="1341114"/>
            <a:ext cx="5520000" cy="4828044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sz="1200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 sz="1200"/>
            </a:lvl6pPr>
            <a:lvl7pPr fontAlgn="base">
              <a:lnSpc>
                <a:spcPct val="100000"/>
              </a:lnSpc>
              <a:spcAft>
                <a:spcPts val="0"/>
              </a:spcAft>
              <a:defRPr sz="1200"/>
            </a:lvl7pPr>
            <a:lvl8pPr fontAlgn="base">
              <a:lnSpc>
                <a:spcPct val="100000"/>
              </a:lnSpc>
              <a:spcAft>
                <a:spcPts val="0"/>
              </a:spcAft>
              <a:defRPr sz="1200"/>
            </a:lvl8pPr>
            <a:lvl9pPr fontAlgn="base">
              <a:lnSpc>
                <a:spcPct val="100000"/>
              </a:lnSpc>
              <a:spcAft>
                <a:spcPts val="0"/>
              </a:spcAft>
              <a:defRPr sz="1200"/>
            </a:lvl9pPr>
          </a:lstStyle>
          <a:p>
            <a:pPr lvl="0"/>
            <a:r>
              <a:rPr lang="en-US" altLang="ja-JP"/>
              <a:t>Click to edit Master text styles</a:t>
            </a:r>
          </a:p>
          <a:p>
            <a:pPr lvl="1"/>
            <a:r>
              <a:rPr lang="en-US" altLang="ja-JP"/>
              <a:t>Second level</a:t>
            </a:r>
          </a:p>
          <a:p>
            <a:pPr lvl="2"/>
            <a:r>
              <a:rPr lang="en-US" altLang="ja-JP"/>
              <a:t>Third level</a:t>
            </a:r>
          </a:p>
          <a:p>
            <a:pPr lvl="3"/>
            <a:r>
              <a:rPr lang="en-US" altLang="ja-JP"/>
              <a:t>Fourth level</a:t>
            </a:r>
          </a:p>
          <a:p>
            <a:pPr lvl="4"/>
            <a:r>
              <a:rPr lang="en-US" altLang="ja-JP"/>
              <a:t>Fifth level</a:t>
            </a:r>
            <a:endParaRPr lang="en-GB" dirty="0"/>
          </a:p>
        </p:txBody>
      </p:sp>
      <p:sp>
        <p:nvSpPr>
          <p:cNvPr id="5" name="Content Left"/>
          <p:cNvSpPr>
            <a:spLocks noGrp="1"/>
          </p:cNvSpPr>
          <p:nvPr>
            <p:ph idx="1"/>
          </p:nvPr>
        </p:nvSpPr>
        <p:spPr bwMode="gray">
          <a:xfrm>
            <a:off x="287455" y="1341114"/>
            <a:ext cx="5520000" cy="4828044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sz="1200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 sz="1200"/>
            </a:lvl6pPr>
            <a:lvl7pPr fontAlgn="base">
              <a:lnSpc>
                <a:spcPct val="100000"/>
              </a:lnSpc>
              <a:spcAft>
                <a:spcPts val="0"/>
              </a:spcAft>
              <a:defRPr sz="1200"/>
            </a:lvl7pPr>
            <a:lvl8pPr fontAlgn="base">
              <a:lnSpc>
                <a:spcPct val="100000"/>
              </a:lnSpc>
              <a:spcAft>
                <a:spcPts val="0"/>
              </a:spcAft>
              <a:defRPr sz="1200"/>
            </a:lvl8pPr>
            <a:lvl9pPr fontAlgn="base">
              <a:lnSpc>
                <a:spcPct val="100000"/>
              </a:lnSpc>
              <a:spcAft>
                <a:spcPts val="0"/>
              </a:spcAft>
              <a:defRPr sz="1200"/>
            </a:lvl9pPr>
          </a:lstStyle>
          <a:p>
            <a:pPr lvl="0"/>
            <a:r>
              <a:rPr lang="en-US" altLang="ja-JP"/>
              <a:t>Click to edit Master text styles</a:t>
            </a:r>
          </a:p>
          <a:p>
            <a:pPr lvl="1"/>
            <a:r>
              <a:rPr lang="en-US" altLang="ja-JP"/>
              <a:t>Second level</a:t>
            </a:r>
          </a:p>
          <a:p>
            <a:pPr lvl="2"/>
            <a:r>
              <a:rPr lang="en-US" altLang="ja-JP"/>
              <a:t>Third level</a:t>
            </a:r>
          </a:p>
          <a:p>
            <a:pPr lvl="3"/>
            <a:r>
              <a:rPr lang="en-US" altLang="ja-JP"/>
              <a:t>Fourth level</a:t>
            </a:r>
          </a:p>
          <a:p>
            <a:pPr lvl="4"/>
            <a:r>
              <a:rPr lang="en-US" altLang="ja-JP"/>
              <a:t>Fifth level</a:t>
            </a:r>
            <a:endParaRPr lang="en-GB" dirty="0"/>
          </a:p>
        </p:txBody>
      </p:sp>
      <p:sp>
        <p:nvSpPr>
          <p:cNvPr id="8" name="Title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gray">
          <a:xfrm>
            <a:off x="287453" y="1"/>
            <a:ext cx="11625600" cy="1011600"/>
          </a:xfrm>
          <a:prstGeom prst="rect">
            <a:avLst/>
          </a:prstGeom>
        </p:spPr>
        <p:txBody>
          <a:bodyPr anchor="b"/>
          <a:lstStyle/>
          <a:p>
            <a:pPr lvl="0"/>
            <a:r>
              <a:rPr lang="en-US" altLang="ja-JP"/>
              <a:t>Click to edit Master title style</a:t>
            </a:r>
            <a:endParaRPr lang="en-GB" dirty="0"/>
          </a:p>
        </p:txBody>
      </p:sp>
      <p:sp>
        <p:nvSpPr>
          <p:cNvPr id="9" name="Content"/>
          <p:cNvSpPr>
            <a:spLocks noGrp="1"/>
          </p:cNvSpPr>
          <p:nvPr>
            <p:ph idx="10" hasCustomPrompt="1"/>
          </p:nvPr>
        </p:nvSpPr>
        <p:spPr bwMode="gray">
          <a:xfrm>
            <a:off x="287453" y="6046048"/>
            <a:ext cx="11625600" cy="123111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en-US" sz="800" dirty="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/>
            </a:lvl6pPr>
            <a:lvl7pPr fontAlgn="base">
              <a:lnSpc>
                <a:spcPct val="100000"/>
              </a:lnSpc>
              <a:spcAft>
                <a:spcPts val="0"/>
              </a:spcAft>
              <a:defRPr/>
            </a:lvl7pPr>
            <a:lvl8pPr fontAlgn="base">
              <a:lnSpc>
                <a:spcPct val="100000"/>
              </a:lnSpc>
              <a:spcAft>
                <a:spcPts val="0"/>
              </a:spcAft>
              <a:defRPr/>
            </a:lvl8pPr>
            <a:lvl9pPr fontAlgn="base">
              <a:lnSpc>
                <a:spcPct val="100000"/>
              </a:lnSpc>
              <a:spcAft>
                <a:spcPts val="0"/>
              </a:spcAft>
              <a:defRPr/>
            </a:lvl9pPr>
          </a:lstStyle>
          <a:p>
            <a:pPr lvl="0"/>
            <a:r>
              <a:rPr lang="en-GB" dirty="0"/>
              <a:t>Source: </a:t>
            </a:r>
          </a:p>
        </p:txBody>
      </p:sp>
    </p:spTree>
    <p:extLst>
      <p:ext uri="{BB962C8B-B14F-4D97-AF65-F5344CB8AC3E}">
        <p14:creationId xmlns:p14="http://schemas.microsoft.com/office/powerpoint/2010/main" val="3153968639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with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Content Right"/>
          <p:cNvSpPr>
            <a:spLocks noGrp="1"/>
          </p:cNvSpPr>
          <p:nvPr>
            <p:ph idx="11"/>
          </p:nvPr>
        </p:nvSpPr>
        <p:spPr bwMode="gray">
          <a:xfrm>
            <a:off x="6393053" y="1882448"/>
            <a:ext cx="5520000" cy="4286711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sz="1200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 sz="1200"/>
            </a:lvl6pPr>
            <a:lvl7pPr fontAlgn="base">
              <a:lnSpc>
                <a:spcPct val="100000"/>
              </a:lnSpc>
              <a:spcAft>
                <a:spcPts val="0"/>
              </a:spcAft>
              <a:defRPr sz="1200"/>
            </a:lvl7pPr>
            <a:lvl8pPr fontAlgn="base">
              <a:lnSpc>
                <a:spcPct val="100000"/>
              </a:lnSpc>
              <a:spcAft>
                <a:spcPts val="0"/>
              </a:spcAft>
              <a:defRPr sz="1200"/>
            </a:lvl8pPr>
            <a:lvl9pPr fontAlgn="base">
              <a:lnSpc>
                <a:spcPct val="100000"/>
              </a:lnSpc>
              <a:spcAft>
                <a:spcPts val="0"/>
              </a:spcAft>
              <a:defRPr sz="1200"/>
            </a:lvl9pPr>
          </a:lstStyle>
          <a:p>
            <a:pPr lvl="0"/>
            <a:r>
              <a:rPr lang="en-US" altLang="ja-JP"/>
              <a:t>Click to edit Master text styles</a:t>
            </a:r>
          </a:p>
          <a:p>
            <a:pPr lvl="1"/>
            <a:r>
              <a:rPr lang="en-US" altLang="ja-JP"/>
              <a:t>Second level</a:t>
            </a:r>
          </a:p>
          <a:p>
            <a:pPr lvl="2"/>
            <a:r>
              <a:rPr lang="en-US" altLang="ja-JP"/>
              <a:t>Third level</a:t>
            </a:r>
          </a:p>
          <a:p>
            <a:pPr lvl="3"/>
            <a:r>
              <a:rPr lang="en-US" altLang="ja-JP"/>
              <a:t>Fourth level</a:t>
            </a:r>
          </a:p>
          <a:p>
            <a:pPr lvl="4"/>
            <a:r>
              <a:rPr lang="en-US" altLang="ja-JP"/>
              <a:t>Fifth level</a:t>
            </a:r>
            <a:endParaRPr lang="en-GB" dirty="0"/>
          </a:p>
        </p:txBody>
      </p:sp>
      <p:sp>
        <p:nvSpPr>
          <p:cNvPr id="15" name="Content Left"/>
          <p:cNvSpPr>
            <a:spLocks noGrp="1"/>
          </p:cNvSpPr>
          <p:nvPr>
            <p:ph idx="1"/>
          </p:nvPr>
        </p:nvSpPr>
        <p:spPr bwMode="gray">
          <a:xfrm>
            <a:off x="287451" y="1882448"/>
            <a:ext cx="5520000" cy="4286711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fontAlgn="base">
              <a:lnSpc>
                <a:spcPct val="100000"/>
              </a:lnSpc>
              <a:spcAft>
                <a:spcPts val="0"/>
              </a:spcAft>
              <a:defRPr lang="en-US" sz="120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sz="120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sz="120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sz="120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sz="1200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 sz="1200"/>
            </a:lvl6pPr>
            <a:lvl7pPr fontAlgn="base">
              <a:lnSpc>
                <a:spcPct val="100000"/>
              </a:lnSpc>
              <a:spcAft>
                <a:spcPts val="0"/>
              </a:spcAft>
              <a:defRPr sz="1200"/>
            </a:lvl7pPr>
            <a:lvl8pPr fontAlgn="base">
              <a:lnSpc>
                <a:spcPct val="100000"/>
              </a:lnSpc>
              <a:spcAft>
                <a:spcPts val="0"/>
              </a:spcAft>
              <a:defRPr sz="1200"/>
            </a:lvl8pPr>
            <a:lvl9pPr fontAlgn="base">
              <a:lnSpc>
                <a:spcPct val="100000"/>
              </a:lnSpc>
              <a:spcAft>
                <a:spcPts val="0"/>
              </a:spcAft>
              <a:defRPr sz="1200"/>
            </a:lvl9pPr>
          </a:lstStyle>
          <a:p>
            <a:pPr lvl="0"/>
            <a:r>
              <a:rPr lang="en-US" altLang="ja-JP"/>
              <a:t>Click to edit Master text styles</a:t>
            </a:r>
          </a:p>
          <a:p>
            <a:pPr lvl="1"/>
            <a:r>
              <a:rPr lang="en-US" altLang="ja-JP"/>
              <a:t>Second level</a:t>
            </a:r>
          </a:p>
          <a:p>
            <a:pPr lvl="2"/>
            <a:r>
              <a:rPr lang="en-US" altLang="ja-JP"/>
              <a:t>Third level</a:t>
            </a:r>
          </a:p>
          <a:p>
            <a:pPr lvl="3"/>
            <a:r>
              <a:rPr lang="en-US" altLang="ja-JP"/>
              <a:t>Fourth level</a:t>
            </a:r>
          </a:p>
          <a:p>
            <a:pPr lvl="4"/>
            <a:r>
              <a:rPr lang="en-US" altLang="ja-JP"/>
              <a:t>Fifth level</a:t>
            </a:r>
            <a:endParaRPr lang="en-GB" dirty="0"/>
          </a:p>
        </p:txBody>
      </p:sp>
      <p:sp>
        <p:nvSpPr>
          <p:cNvPr id="14" name="Heading Right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6393053" y="1341114"/>
            <a:ext cx="5520000" cy="369332"/>
          </a:xfrm>
        </p:spPr>
        <p:txBody>
          <a:bodyPr wrap="square" lIns="0" tIns="0" rIns="0" bIns="0"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200" b="1">
                <a:solidFill>
                  <a:schemeClr val="accent1"/>
                </a:solidFill>
                <a:latin typeface="+mn-lt"/>
                <a:sym typeface="+mn-lt"/>
              </a:defRPr>
            </a:lvl1pPr>
            <a:lvl2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200">
                <a:solidFill>
                  <a:schemeClr val="accent1"/>
                </a:solidFill>
                <a:latin typeface="+mn-lt"/>
                <a:sym typeface="+mn-lt"/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Heading 12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2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13" name="Heading Left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287455" y="1341114"/>
            <a:ext cx="5520000" cy="369332"/>
          </a:xfrm>
        </p:spPr>
        <p:txBody>
          <a:bodyPr wrap="square" lIns="0" tIns="0" rIns="0" bIns="0"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200" b="1">
                <a:solidFill>
                  <a:schemeClr val="accent1"/>
                </a:solidFill>
                <a:latin typeface="+mn-lt"/>
                <a:sym typeface="+mn-lt"/>
              </a:defRPr>
            </a:lvl1pPr>
            <a:lvl2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200">
                <a:solidFill>
                  <a:schemeClr val="accent1"/>
                </a:solidFill>
                <a:latin typeface="+mn-lt"/>
                <a:sym typeface="+mn-lt"/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Heading 12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2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8" name="Title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gray">
          <a:xfrm>
            <a:off x="287453" y="1"/>
            <a:ext cx="11625600" cy="1011600"/>
          </a:xfrm>
          <a:prstGeom prst="rect">
            <a:avLst/>
          </a:prstGeom>
        </p:spPr>
        <p:txBody>
          <a:bodyPr anchor="b"/>
          <a:lstStyle/>
          <a:p>
            <a:pPr lvl="0"/>
            <a:r>
              <a:rPr lang="en-US" altLang="ja-JP"/>
              <a:t>Click to edit Master title style</a:t>
            </a:r>
            <a:endParaRPr lang="en-GB" dirty="0"/>
          </a:p>
        </p:txBody>
      </p:sp>
      <p:sp>
        <p:nvSpPr>
          <p:cNvPr id="9" name="Content"/>
          <p:cNvSpPr>
            <a:spLocks noGrp="1"/>
          </p:cNvSpPr>
          <p:nvPr>
            <p:ph idx="10" hasCustomPrompt="1"/>
          </p:nvPr>
        </p:nvSpPr>
        <p:spPr bwMode="gray">
          <a:xfrm>
            <a:off x="287453" y="6046048"/>
            <a:ext cx="11625600" cy="123111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en-US" sz="800" dirty="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/>
            </a:lvl6pPr>
            <a:lvl7pPr fontAlgn="base">
              <a:lnSpc>
                <a:spcPct val="100000"/>
              </a:lnSpc>
              <a:spcAft>
                <a:spcPts val="0"/>
              </a:spcAft>
              <a:defRPr/>
            </a:lvl7pPr>
            <a:lvl8pPr fontAlgn="base">
              <a:lnSpc>
                <a:spcPct val="100000"/>
              </a:lnSpc>
              <a:spcAft>
                <a:spcPts val="0"/>
              </a:spcAft>
              <a:defRPr/>
            </a:lvl8pPr>
            <a:lvl9pPr fontAlgn="base">
              <a:lnSpc>
                <a:spcPct val="100000"/>
              </a:lnSpc>
              <a:spcAft>
                <a:spcPts val="0"/>
              </a:spcAft>
              <a:defRPr/>
            </a:lvl9pPr>
          </a:lstStyle>
          <a:p>
            <a:pPr lvl="0"/>
            <a:r>
              <a:rPr lang="en-GB" dirty="0"/>
              <a:t>Source: </a:t>
            </a:r>
          </a:p>
        </p:txBody>
      </p:sp>
    </p:spTree>
    <p:extLst>
      <p:ext uri="{BB962C8B-B14F-4D97-AF65-F5344CB8AC3E}">
        <p14:creationId xmlns:p14="http://schemas.microsoft.com/office/powerpoint/2010/main" val="2092298294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text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Right Bottom"/>
          <p:cNvSpPr>
            <a:spLocks noGrp="1"/>
          </p:cNvSpPr>
          <p:nvPr>
            <p:ph idx="27"/>
          </p:nvPr>
        </p:nvSpPr>
        <p:spPr bwMode="gray">
          <a:xfrm>
            <a:off x="6393053" y="3842316"/>
            <a:ext cx="5520000" cy="2326843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US" altLang="ja-JP" sz="1000" smtClean="0">
                <a:latin typeface="+mn-lt"/>
                <a:ea typeface="+mn-ea"/>
                <a:sym typeface="+mn-lt"/>
              </a:defRPr>
            </a:lvl1pPr>
            <a:lvl2pPr>
              <a:defRPr lang="en-US" altLang="ja-JP" sz="1000" smtClean="0">
                <a:latin typeface="+mn-lt"/>
                <a:ea typeface="+mn-ea"/>
                <a:sym typeface="+mn-lt"/>
              </a:defRPr>
            </a:lvl2pPr>
            <a:lvl3pPr>
              <a:defRPr lang="en-US" altLang="ja-JP" sz="1000" smtClean="0">
                <a:latin typeface="+mn-lt"/>
                <a:ea typeface="+mn-ea"/>
                <a:sym typeface="+mn-lt"/>
              </a:defRPr>
            </a:lvl3pPr>
            <a:lvl4pPr>
              <a:defRPr lang="en-US" altLang="ja-JP" sz="1000" smtClean="0">
                <a:latin typeface="+mn-lt"/>
                <a:ea typeface="+mn-ea"/>
                <a:sym typeface="+mn-lt"/>
              </a:defRPr>
            </a:lvl4pPr>
            <a:lvl5pPr>
              <a:defRPr lang="en-GB" sz="1000" dirty="0" smtClean="0">
                <a:latin typeface="+mn-lt"/>
                <a:ea typeface="+mn-ea"/>
                <a:sym typeface="+mn-lt"/>
              </a:defRPr>
            </a:lvl5pPr>
          </a:lstStyle>
          <a:p>
            <a:pPr lvl="0">
              <a:lnSpc>
                <a:spcPct val="100000"/>
              </a:lnSpc>
            </a:pPr>
            <a:r>
              <a:rPr lang="en-US" altLang="ja-JP"/>
              <a:t>Click to edit Master text styles</a:t>
            </a:r>
          </a:p>
          <a:p>
            <a:pPr lvl="1">
              <a:lnSpc>
                <a:spcPct val="100000"/>
              </a:lnSpc>
            </a:pPr>
            <a:r>
              <a:rPr lang="en-US" altLang="ja-JP"/>
              <a:t>Second level</a:t>
            </a:r>
          </a:p>
          <a:p>
            <a:pPr lvl="2">
              <a:lnSpc>
                <a:spcPct val="100000"/>
              </a:lnSpc>
            </a:pPr>
            <a:r>
              <a:rPr lang="en-US" altLang="ja-JP"/>
              <a:t>Third level</a:t>
            </a:r>
          </a:p>
          <a:p>
            <a:pPr lvl="3">
              <a:lnSpc>
                <a:spcPct val="100000"/>
              </a:lnSpc>
            </a:pPr>
            <a:r>
              <a:rPr lang="en-US" altLang="ja-JP"/>
              <a:t>Fourth level</a:t>
            </a:r>
          </a:p>
          <a:p>
            <a:pPr lvl="4">
              <a:lnSpc>
                <a:spcPct val="100000"/>
              </a:lnSpc>
            </a:pPr>
            <a:r>
              <a:rPr lang="en-US" altLang="ja-JP"/>
              <a:t>Fifth level</a:t>
            </a:r>
            <a:endParaRPr lang="en-GB" dirty="0"/>
          </a:p>
        </p:txBody>
      </p:sp>
      <p:sp>
        <p:nvSpPr>
          <p:cNvPr id="4" name="Content Left Bottom"/>
          <p:cNvSpPr>
            <a:spLocks noGrp="1"/>
          </p:cNvSpPr>
          <p:nvPr>
            <p:ph idx="28"/>
          </p:nvPr>
        </p:nvSpPr>
        <p:spPr bwMode="gray">
          <a:xfrm>
            <a:off x="287455" y="3842316"/>
            <a:ext cx="5520000" cy="2326843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US" altLang="ja-JP" sz="1000" smtClean="0">
                <a:latin typeface="+mn-lt"/>
                <a:ea typeface="+mn-ea"/>
                <a:sym typeface="+mn-lt"/>
              </a:defRPr>
            </a:lvl1pPr>
            <a:lvl2pPr>
              <a:defRPr lang="en-US" altLang="ja-JP" sz="1000" smtClean="0">
                <a:latin typeface="+mn-lt"/>
                <a:ea typeface="+mn-ea"/>
                <a:sym typeface="+mn-lt"/>
              </a:defRPr>
            </a:lvl2pPr>
            <a:lvl3pPr>
              <a:defRPr lang="en-US" altLang="ja-JP" sz="1000" smtClean="0">
                <a:latin typeface="+mn-lt"/>
                <a:ea typeface="+mn-ea"/>
                <a:sym typeface="+mn-lt"/>
              </a:defRPr>
            </a:lvl3pPr>
            <a:lvl4pPr>
              <a:defRPr lang="en-US" altLang="ja-JP" sz="1000" smtClean="0">
                <a:latin typeface="+mn-lt"/>
                <a:ea typeface="+mn-ea"/>
                <a:sym typeface="+mn-lt"/>
              </a:defRPr>
            </a:lvl4pPr>
            <a:lvl5pPr>
              <a:defRPr lang="en-GB" sz="1000" dirty="0" smtClean="0">
                <a:latin typeface="+mn-lt"/>
                <a:ea typeface="+mn-ea"/>
                <a:sym typeface="+mn-lt"/>
              </a:defRPr>
            </a:lvl5pPr>
          </a:lstStyle>
          <a:p>
            <a:pPr lvl="0">
              <a:lnSpc>
                <a:spcPct val="100000"/>
              </a:lnSpc>
            </a:pPr>
            <a:r>
              <a:rPr lang="en-US" altLang="ja-JP"/>
              <a:t>Click to edit Master text styles</a:t>
            </a:r>
          </a:p>
          <a:p>
            <a:pPr lvl="1">
              <a:lnSpc>
                <a:spcPct val="100000"/>
              </a:lnSpc>
            </a:pPr>
            <a:r>
              <a:rPr lang="en-US" altLang="ja-JP"/>
              <a:t>Second level</a:t>
            </a:r>
          </a:p>
          <a:p>
            <a:pPr lvl="2">
              <a:lnSpc>
                <a:spcPct val="100000"/>
              </a:lnSpc>
            </a:pPr>
            <a:r>
              <a:rPr lang="en-US" altLang="ja-JP"/>
              <a:t>Third level</a:t>
            </a:r>
          </a:p>
          <a:p>
            <a:pPr lvl="3">
              <a:lnSpc>
                <a:spcPct val="100000"/>
              </a:lnSpc>
            </a:pPr>
            <a:r>
              <a:rPr lang="en-US" altLang="ja-JP"/>
              <a:t>Fourth level</a:t>
            </a:r>
          </a:p>
          <a:p>
            <a:pPr lvl="4">
              <a:lnSpc>
                <a:spcPct val="100000"/>
              </a:lnSpc>
            </a:pPr>
            <a:r>
              <a:rPr lang="en-US" altLang="ja-JP"/>
              <a:t>Fifth level</a:t>
            </a:r>
            <a:endParaRPr lang="en-GB" dirty="0"/>
          </a:p>
        </p:txBody>
      </p:sp>
      <p:sp>
        <p:nvSpPr>
          <p:cNvPr id="8" name="Content Right Top"/>
          <p:cNvSpPr>
            <a:spLocks noGrp="1"/>
          </p:cNvSpPr>
          <p:nvPr>
            <p:ph idx="26"/>
          </p:nvPr>
        </p:nvSpPr>
        <p:spPr bwMode="gray">
          <a:xfrm>
            <a:off x="6393053" y="1341114"/>
            <a:ext cx="5520000" cy="2325600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US" altLang="ja-JP" sz="1000" smtClean="0">
                <a:latin typeface="+mn-lt"/>
                <a:ea typeface="+mn-ea"/>
                <a:sym typeface="+mn-lt"/>
              </a:defRPr>
            </a:lvl1pPr>
            <a:lvl2pPr>
              <a:defRPr lang="en-US" altLang="ja-JP" sz="1000" smtClean="0">
                <a:latin typeface="+mn-lt"/>
                <a:ea typeface="+mn-ea"/>
                <a:sym typeface="+mn-lt"/>
              </a:defRPr>
            </a:lvl2pPr>
            <a:lvl3pPr>
              <a:defRPr lang="en-US" altLang="ja-JP" sz="1000" smtClean="0">
                <a:latin typeface="+mn-lt"/>
                <a:ea typeface="+mn-ea"/>
                <a:sym typeface="+mn-lt"/>
              </a:defRPr>
            </a:lvl3pPr>
            <a:lvl4pPr>
              <a:defRPr lang="en-US" altLang="ja-JP" sz="1000" smtClean="0">
                <a:latin typeface="+mn-lt"/>
                <a:ea typeface="+mn-ea"/>
                <a:sym typeface="+mn-lt"/>
              </a:defRPr>
            </a:lvl4pPr>
            <a:lvl5pPr>
              <a:defRPr lang="en-GB" sz="1000" dirty="0" smtClean="0">
                <a:latin typeface="+mn-lt"/>
                <a:ea typeface="+mn-ea"/>
                <a:sym typeface="+mn-lt"/>
              </a:defRPr>
            </a:lvl5pPr>
          </a:lstStyle>
          <a:p>
            <a:pPr lvl="0">
              <a:lnSpc>
                <a:spcPct val="100000"/>
              </a:lnSpc>
            </a:pPr>
            <a:r>
              <a:rPr lang="en-US" altLang="ja-JP"/>
              <a:t>Click to edit Master text styles</a:t>
            </a:r>
          </a:p>
          <a:p>
            <a:pPr lvl="1">
              <a:lnSpc>
                <a:spcPct val="100000"/>
              </a:lnSpc>
            </a:pPr>
            <a:r>
              <a:rPr lang="en-US" altLang="ja-JP"/>
              <a:t>Second level</a:t>
            </a:r>
          </a:p>
          <a:p>
            <a:pPr lvl="2">
              <a:lnSpc>
                <a:spcPct val="100000"/>
              </a:lnSpc>
            </a:pPr>
            <a:r>
              <a:rPr lang="en-US" altLang="ja-JP"/>
              <a:t>Third level</a:t>
            </a:r>
          </a:p>
          <a:p>
            <a:pPr lvl="3">
              <a:lnSpc>
                <a:spcPct val="100000"/>
              </a:lnSpc>
            </a:pPr>
            <a:r>
              <a:rPr lang="en-US" altLang="ja-JP"/>
              <a:t>Fourth level</a:t>
            </a:r>
          </a:p>
          <a:p>
            <a:pPr lvl="4">
              <a:lnSpc>
                <a:spcPct val="100000"/>
              </a:lnSpc>
            </a:pPr>
            <a:r>
              <a:rPr lang="en-US" altLang="ja-JP"/>
              <a:t>Fifth level</a:t>
            </a:r>
            <a:endParaRPr lang="en-GB" dirty="0"/>
          </a:p>
        </p:txBody>
      </p:sp>
      <p:sp>
        <p:nvSpPr>
          <p:cNvPr id="9" name="Content Left Top"/>
          <p:cNvSpPr>
            <a:spLocks noGrp="1"/>
          </p:cNvSpPr>
          <p:nvPr>
            <p:ph idx="1"/>
          </p:nvPr>
        </p:nvSpPr>
        <p:spPr bwMode="gray">
          <a:xfrm>
            <a:off x="287455" y="1341114"/>
            <a:ext cx="5520000" cy="2325600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US" altLang="ja-JP" sz="1000" smtClean="0">
                <a:latin typeface="+mn-lt"/>
                <a:ea typeface="+mn-ea"/>
                <a:sym typeface="+mn-lt"/>
              </a:defRPr>
            </a:lvl1pPr>
            <a:lvl2pPr>
              <a:defRPr lang="en-US" altLang="ja-JP" sz="1000" smtClean="0">
                <a:latin typeface="+mn-lt"/>
                <a:ea typeface="+mn-ea"/>
                <a:sym typeface="+mn-lt"/>
              </a:defRPr>
            </a:lvl2pPr>
            <a:lvl3pPr>
              <a:defRPr lang="en-US" altLang="ja-JP" sz="1000" smtClean="0">
                <a:latin typeface="+mn-lt"/>
                <a:ea typeface="+mn-ea"/>
                <a:sym typeface="+mn-lt"/>
              </a:defRPr>
            </a:lvl3pPr>
            <a:lvl4pPr>
              <a:defRPr lang="en-US" altLang="ja-JP" sz="1000" smtClean="0">
                <a:latin typeface="+mn-lt"/>
                <a:ea typeface="+mn-ea"/>
                <a:sym typeface="+mn-lt"/>
              </a:defRPr>
            </a:lvl4pPr>
            <a:lvl5pPr>
              <a:defRPr lang="en-GB" sz="1000" dirty="0" smtClean="0">
                <a:latin typeface="+mn-lt"/>
                <a:ea typeface="+mn-ea"/>
                <a:sym typeface="+mn-lt"/>
              </a:defRPr>
            </a:lvl5pPr>
          </a:lstStyle>
          <a:p>
            <a:pPr lvl="0">
              <a:lnSpc>
                <a:spcPct val="100000"/>
              </a:lnSpc>
            </a:pPr>
            <a:r>
              <a:rPr lang="en-US" altLang="ja-JP"/>
              <a:t>Click to edit Master text styles</a:t>
            </a:r>
          </a:p>
          <a:p>
            <a:pPr lvl="1">
              <a:lnSpc>
                <a:spcPct val="100000"/>
              </a:lnSpc>
            </a:pPr>
            <a:r>
              <a:rPr lang="en-US" altLang="ja-JP"/>
              <a:t>Second level</a:t>
            </a:r>
          </a:p>
          <a:p>
            <a:pPr lvl="2">
              <a:lnSpc>
                <a:spcPct val="100000"/>
              </a:lnSpc>
            </a:pPr>
            <a:r>
              <a:rPr lang="en-US" altLang="ja-JP"/>
              <a:t>Third level</a:t>
            </a:r>
          </a:p>
          <a:p>
            <a:pPr lvl="3">
              <a:lnSpc>
                <a:spcPct val="100000"/>
              </a:lnSpc>
            </a:pPr>
            <a:r>
              <a:rPr lang="en-US" altLang="ja-JP"/>
              <a:t>Fourth level</a:t>
            </a:r>
          </a:p>
          <a:p>
            <a:pPr lvl="4">
              <a:lnSpc>
                <a:spcPct val="100000"/>
              </a:lnSpc>
            </a:pPr>
            <a:r>
              <a:rPr lang="en-US" altLang="ja-JP"/>
              <a:t>Fifth level</a:t>
            </a:r>
            <a:endParaRPr lang="en-GB" dirty="0"/>
          </a:p>
        </p:txBody>
      </p:sp>
      <p:sp>
        <p:nvSpPr>
          <p:cNvPr id="10" name="Title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gray">
          <a:xfrm>
            <a:off x="287453" y="1"/>
            <a:ext cx="11625600" cy="1011600"/>
          </a:xfrm>
          <a:prstGeom prst="rect">
            <a:avLst/>
          </a:prstGeom>
        </p:spPr>
        <p:txBody>
          <a:bodyPr anchor="b"/>
          <a:lstStyle/>
          <a:p>
            <a:pPr lvl="0"/>
            <a:r>
              <a:rPr lang="en-US" altLang="ja-JP"/>
              <a:t>Click to edit Master title style</a:t>
            </a:r>
            <a:endParaRPr lang="en-GB" dirty="0"/>
          </a:p>
        </p:txBody>
      </p:sp>
      <p:sp>
        <p:nvSpPr>
          <p:cNvPr id="11" name="Content"/>
          <p:cNvSpPr>
            <a:spLocks noGrp="1"/>
          </p:cNvSpPr>
          <p:nvPr>
            <p:ph idx="10" hasCustomPrompt="1"/>
          </p:nvPr>
        </p:nvSpPr>
        <p:spPr bwMode="gray">
          <a:xfrm>
            <a:off x="287453" y="6046048"/>
            <a:ext cx="11625600" cy="123111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en-US" sz="800" dirty="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/>
            </a:lvl6pPr>
            <a:lvl7pPr fontAlgn="base">
              <a:lnSpc>
                <a:spcPct val="100000"/>
              </a:lnSpc>
              <a:spcAft>
                <a:spcPts val="0"/>
              </a:spcAft>
              <a:defRPr/>
            </a:lvl7pPr>
            <a:lvl8pPr fontAlgn="base">
              <a:lnSpc>
                <a:spcPct val="100000"/>
              </a:lnSpc>
              <a:spcAft>
                <a:spcPts val="0"/>
              </a:spcAft>
              <a:defRPr/>
            </a:lvl8pPr>
            <a:lvl9pPr fontAlgn="base">
              <a:lnSpc>
                <a:spcPct val="100000"/>
              </a:lnSpc>
              <a:spcAft>
                <a:spcPts val="0"/>
              </a:spcAft>
              <a:defRPr/>
            </a:lvl9pPr>
          </a:lstStyle>
          <a:p>
            <a:pPr lvl="0"/>
            <a:r>
              <a:rPr lang="en-GB" dirty="0"/>
              <a:t>Source: </a:t>
            </a:r>
          </a:p>
        </p:txBody>
      </p:sp>
    </p:spTree>
    <p:extLst>
      <p:ext uri="{BB962C8B-B14F-4D97-AF65-F5344CB8AC3E}">
        <p14:creationId xmlns:p14="http://schemas.microsoft.com/office/powerpoint/2010/main" val="277795314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textboxes with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Right Top"/>
          <p:cNvSpPr>
            <a:spLocks noGrp="1"/>
          </p:cNvSpPr>
          <p:nvPr>
            <p:ph idx="29"/>
          </p:nvPr>
        </p:nvSpPr>
        <p:spPr bwMode="gray">
          <a:xfrm>
            <a:off x="6393053" y="1814188"/>
            <a:ext cx="5520000" cy="1852526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US" altLang="ja-JP" sz="1000" smtClean="0">
                <a:latin typeface="+mn-lt"/>
                <a:ea typeface="+mn-ea"/>
                <a:sym typeface="+mn-lt"/>
              </a:defRPr>
            </a:lvl1pPr>
            <a:lvl2pPr>
              <a:defRPr lang="en-US" altLang="ja-JP" sz="1000" smtClean="0">
                <a:latin typeface="+mn-lt"/>
                <a:ea typeface="+mn-ea"/>
                <a:sym typeface="+mn-lt"/>
              </a:defRPr>
            </a:lvl2pPr>
            <a:lvl3pPr>
              <a:defRPr lang="en-US" altLang="ja-JP" sz="1000" smtClean="0">
                <a:latin typeface="+mn-lt"/>
                <a:ea typeface="+mn-ea"/>
                <a:sym typeface="+mn-lt"/>
              </a:defRPr>
            </a:lvl3pPr>
            <a:lvl4pPr>
              <a:defRPr lang="en-US" altLang="ja-JP" sz="1000" smtClean="0">
                <a:latin typeface="+mn-lt"/>
                <a:ea typeface="+mn-ea"/>
                <a:sym typeface="+mn-lt"/>
              </a:defRPr>
            </a:lvl4pPr>
            <a:lvl5pPr>
              <a:defRPr lang="en-GB" sz="1000" dirty="0" smtClean="0">
                <a:latin typeface="+mn-lt"/>
                <a:ea typeface="+mn-ea"/>
                <a:sym typeface="+mn-lt"/>
              </a:defRPr>
            </a:lvl5pPr>
          </a:lstStyle>
          <a:p>
            <a:pPr lvl="0">
              <a:lnSpc>
                <a:spcPct val="100000"/>
              </a:lnSpc>
            </a:pPr>
            <a:r>
              <a:rPr lang="en-US" altLang="ja-JP"/>
              <a:t>Click to edit Master text styles</a:t>
            </a:r>
          </a:p>
          <a:p>
            <a:pPr lvl="1">
              <a:lnSpc>
                <a:spcPct val="100000"/>
              </a:lnSpc>
            </a:pPr>
            <a:r>
              <a:rPr lang="en-US" altLang="ja-JP"/>
              <a:t>Second level</a:t>
            </a:r>
          </a:p>
          <a:p>
            <a:pPr lvl="2">
              <a:lnSpc>
                <a:spcPct val="100000"/>
              </a:lnSpc>
            </a:pPr>
            <a:r>
              <a:rPr lang="en-US" altLang="ja-JP"/>
              <a:t>Third level</a:t>
            </a:r>
          </a:p>
          <a:p>
            <a:pPr lvl="3">
              <a:lnSpc>
                <a:spcPct val="100000"/>
              </a:lnSpc>
            </a:pPr>
            <a:r>
              <a:rPr lang="en-US" altLang="ja-JP"/>
              <a:t>Fourth level</a:t>
            </a:r>
          </a:p>
          <a:p>
            <a:pPr lvl="4">
              <a:lnSpc>
                <a:spcPct val="100000"/>
              </a:lnSpc>
            </a:pPr>
            <a:r>
              <a:rPr lang="en-US" altLang="ja-JP"/>
              <a:t>Fifth level</a:t>
            </a:r>
            <a:endParaRPr lang="en-GB" dirty="0"/>
          </a:p>
        </p:txBody>
      </p:sp>
      <p:sp>
        <p:nvSpPr>
          <p:cNvPr id="9" name="Content Left Top"/>
          <p:cNvSpPr>
            <a:spLocks noGrp="1"/>
          </p:cNvSpPr>
          <p:nvPr>
            <p:ph idx="1"/>
          </p:nvPr>
        </p:nvSpPr>
        <p:spPr bwMode="gray">
          <a:xfrm>
            <a:off x="287455" y="1814188"/>
            <a:ext cx="5520000" cy="1852526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US" altLang="ja-JP" sz="1000" smtClean="0">
                <a:latin typeface="+mn-lt"/>
                <a:ea typeface="+mn-ea"/>
                <a:sym typeface="+mn-lt"/>
              </a:defRPr>
            </a:lvl1pPr>
            <a:lvl2pPr>
              <a:defRPr lang="en-US" altLang="ja-JP" sz="1000" smtClean="0">
                <a:latin typeface="+mn-lt"/>
                <a:ea typeface="+mn-ea"/>
                <a:sym typeface="+mn-lt"/>
              </a:defRPr>
            </a:lvl2pPr>
            <a:lvl3pPr>
              <a:defRPr lang="en-US" altLang="ja-JP" sz="1000" smtClean="0">
                <a:latin typeface="+mn-lt"/>
                <a:ea typeface="+mn-ea"/>
                <a:sym typeface="+mn-lt"/>
              </a:defRPr>
            </a:lvl3pPr>
            <a:lvl4pPr>
              <a:defRPr lang="en-US" altLang="ja-JP" sz="1000" smtClean="0">
                <a:latin typeface="+mn-lt"/>
                <a:ea typeface="+mn-ea"/>
                <a:sym typeface="+mn-lt"/>
              </a:defRPr>
            </a:lvl4pPr>
            <a:lvl5pPr>
              <a:defRPr lang="en-GB" sz="1000" dirty="0" smtClean="0">
                <a:latin typeface="+mn-lt"/>
                <a:ea typeface="+mn-ea"/>
                <a:sym typeface="+mn-lt"/>
              </a:defRPr>
            </a:lvl5pPr>
          </a:lstStyle>
          <a:p>
            <a:pPr lvl="0">
              <a:lnSpc>
                <a:spcPct val="100000"/>
              </a:lnSpc>
            </a:pPr>
            <a:r>
              <a:rPr lang="en-US" altLang="ja-JP"/>
              <a:t>Click to edit Master text styles</a:t>
            </a:r>
          </a:p>
          <a:p>
            <a:pPr lvl="1">
              <a:lnSpc>
                <a:spcPct val="100000"/>
              </a:lnSpc>
            </a:pPr>
            <a:r>
              <a:rPr lang="en-US" altLang="ja-JP"/>
              <a:t>Second level</a:t>
            </a:r>
          </a:p>
          <a:p>
            <a:pPr lvl="2">
              <a:lnSpc>
                <a:spcPct val="100000"/>
              </a:lnSpc>
            </a:pPr>
            <a:r>
              <a:rPr lang="en-US" altLang="ja-JP"/>
              <a:t>Third level</a:t>
            </a:r>
          </a:p>
          <a:p>
            <a:pPr lvl="3">
              <a:lnSpc>
                <a:spcPct val="100000"/>
              </a:lnSpc>
            </a:pPr>
            <a:r>
              <a:rPr lang="en-US" altLang="ja-JP"/>
              <a:t>Fourth level</a:t>
            </a:r>
          </a:p>
          <a:p>
            <a:pPr lvl="4">
              <a:lnSpc>
                <a:spcPct val="100000"/>
              </a:lnSpc>
            </a:pPr>
            <a:r>
              <a:rPr lang="en-US" altLang="ja-JP"/>
              <a:t>Fifth level</a:t>
            </a:r>
            <a:endParaRPr lang="en-GB" dirty="0"/>
          </a:p>
        </p:txBody>
      </p:sp>
      <p:sp>
        <p:nvSpPr>
          <p:cNvPr id="11" name="Heading Right Top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6393053" y="1341115"/>
            <a:ext cx="5520000" cy="307777"/>
          </a:xfrm>
        </p:spPr>
        <p:txBody>
          <a:bodyPr wrap="square" lIns="0" tIns="0" rIns="0" bIns="0"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000" b="1">
                <a:solidFill>
                  <a:schemeClr val="accent1"/>
                </a:solidFill>
                <a:latin typeface="+mn-lt"/>
                <a:sym typeface="+mn-lt"/>
              </a:defRPr>
            </a:lvl1pPr>
            <a:lvl2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000">
                <a:solidFill>
                  <a:schemeClr val="accent1"/>
                </a:solidFill>
                <a:latin typeface="+mn-lt"/>
                <a:sym typeface="+mn-lt"/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Heading 10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10" name="Heading Left Top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287455" y="1341115"/>
            <a:ext cx="5520000" cy="307777"/>
          </a:xfrm>
        </p:spPr>
        <p:txBody>
          <a:bodyPr wrap="square" lIns="0" tIns="0" rIns="0" bIns="0"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000" b="1">
                <a:solidFill>
                  <a:schemeClr val="accent1"/>
                </a:solidFill>
                <a:latin typeface="+mn-lt"/>
                <a:sym typeface="+mn-lt"/>
              </a:defRPr>
            </a:lvl1pPr>
            <a:lvl2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000">
                <a:solidFill>
                  <a:schemeClr val="accent1"/>
                </a:solidFill>
                <a:latin typeface="+mn-lt"/>
                <a:sym typeface="+mn-lt"/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Heading 10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14" name="Title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gray">
          <a:xfrm>
            <a:off x="287453" y="1"/>
            <a:ext cx="11625600" cy="1011600"/>
          </a:xfrm>
          <a:prstGeom prst="rect">
            <a:avLst/>
          </a:prstGeom>
        </p:spPr>
        <p:txBody>
          <a:bodyPr anchor="b"/>
          <a:lstStyle/>
          <a:p>
            <a:pPr lvl="0"/>
            <a:r>
              <a:rPr lang="en-US" altLang="ja-JP"/>
              <a:t>Click to edit Master title style</a:t>
            </a:r>
            <a:endParaRPr lang="en-GB" dirty="0"/>
          </a:p>
        </p:txBody>
      </p:sp>
      <p:sp>
        <p:nvSpPr>
          <p:cNvPr id="15" name="Content"/>
          <p:cNvSpPr>
            <a:spLocks noGrp="1"/>
          </p:cNvSpPr>
          <p:nvPr>
            <p:ph idx="10" hasCustomPrompt="1"/>
          </p:nvPr>
        </p:nvSpPr>
        <p:spPr bwMode="gray">
          <a:xfrm>
            <a:off x="287453" y="6046048"/>
            <a:ext cx="11625600" cy="123111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en-US" sz="800" dirty="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/>
            </a:lvl6pPr>
            <a:lvl7pPr fontAlgn="base">
              <a:lnSpc>
                <a:spcPct val="100000"/>
              </a:lnSpc>
              <a:spcAft>
                <a:spcPts val="0"/>
              </a:spcAft>
              <a:defRPr/>
            </a:lvl7pPr>
            <a:lvl8pPr fontAlgn="base">
              <a:lnSpc>
                <a:spcPct val="100000"/>
              </a:lnSpc>
              <a:spcAft>
                <a:spcPts val="0"/>
              </a:spcAft>
              <a:defRPr/>
            </a:lvl8pPr>
            <a:lvl9pPr fontAlgn="base">
              <a:lnSpc>
                <a:spcPct val="100000"/>
              </a:lnSpc>
              <a:spcAft>
                <a:spcPts val="0"/>
              </a:spcAft>
              <a:defRPr/>
            </a:lvl9pPr>
          </a:lstStyle>
          <a:p>
            <a:pPr lvl="0"/>
            <a:r>
              <a:rPr lang="en-GB" dirty="0"/>
              <a:t>Source: </a:t>
            </a:r>
          </a:p>
        </p:txBody>
      </p:sp>
      <p:sp>
        <p:nvSpPr>
          <p:cNvPr id="21" name="Content Right Top"/>
          <p:cNvSpPr>
            <a:spLocks noGrp="1"/>
          </p:cNvSpPr>
          <p:nvPr>
            <p:ph idx="34"/>
          </p:nvPr>
        </p:nvSpPr>
        <p:spPr bwMode="gray">
          <a:xfrm>
            <a:off x="6393053" y="4316632"/>
            <a:ext cx="5520000" cy="1852526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US" altLang="ja-JP" sz="1000" smtClean="0">
                <a:latin typeface="+mn-lt"/>
                <a:ea typeface="+mn-ea"/>
                <a:sym typeface="+mn-lt"/>
              </a:defRPr>
            </a:lvl1pPr>
            <a:lvl2pPr>
              <a:defRPr lang="en-US" altLang="ja-JP" sz="1000" smtClean="0">
                <a:latin typeface="+mn-lt"/>
                <a:ea typeface="+mn-ea"/>
                <a:sym typeface="+mn-lt"/>
              </a:defRPr>
            </a:lvl2pPr>
            <a:lvl3pPr>
              <a:defRPr lang="en-US" altLang="ja-JP" sz="1000" smtClean="0">
                <a:latin typeface="+mn-lt"/>
                <a:ea typeface="+mn-ea"/>
                <a:sym typeface="+mn-lt"/>
              </a:defRPr>
            </a:lvl3pPr>
            <a:lvl4pPr>
              <a:defRPr lang="en-US" altLang="ja-JP" sz="1000" smtClean="0">
                <a:latin typeface="+mn-lt"/>
                <a:ea typeface="+mn-ea"/>
                <a:sym typeface="+mn-lt"/>
              </a:defRPr>
            </a:lvl4pPr>
            <a:lvl5pPr>
              <a:defRPr lang="en-GB" sz="1000" dirty="0" smtClean="0">
                <a:latin typeface="+mn-lt"/>
                <a:ea typeface="+mn-ea"/>
                <a:sym typeface="+mn-lt"/>
              </a:defRPr>
            </a:lvl5pPr>
          </a:lstStyle>
          <a:p>
            <a:pPr lvl="0">
              <a:lnSpc>
                <a:spcPct val="100000"/>
              </a:lnSpc>
            </a:pPr>
            <a:r>
              <a:rPr lang="en-US" altLang="ja-JP"/>
              <a:t>Click to edit Master text styles</a:t>
            </a:r>
          </a:p>
          <a:p>
            <a:pPr lvl="1">
              <a:lnSpc>
                <a:spcPct val="100000"/>
              </a:lnSpc>
            </a:pPr>
            <a:r>
              <a:rPr lang="en-US" altLang="ja-JP"/>
              <a:t>Second level</a:t>
            </a:r>
          </a:p>
          <a:p>
            <a:pPr lvl="2">
              <a:lnSpc>
                <a:spcPct val="100000"/>
              </a:lnSpc>
            </a:pPr>
            <a:r>
              <a:rPr lang="en-US" altLang="ja-JP"/>
              <a:t>Third level</a:t>
            </a:r>
          </a:p>
          <a:p>
            <a:pPr lvl="3">
              <a:lnSpc>
                <a:spcPct val="100000"/>
              </a:lnSpc>
            </a:pPr>
            <a:r>
              <a:rPr lang="en-US" altLang="ja-JP"/>
              <a:t>Fourth level</a:t>
            </a:r>
          </a:p>
          <a:p>
            <a:pPr lvl="4">
              <a:lnSpc>
                <a:spcPct val="100000"/>
              </a:lnSpc>
            </a:pPr>
            <a:r>
              <a:rPr lang="en-US" altLang="ja-JP"/>
              <a:t>Fifth level</a:t>
            </a:r>
            <a:endParaRPr lang="en-GB" dirty="0"/>
          </a:p>
        </p:txBody>
      </p:sp>
      <p:sp>
        <p:nvSpPr>
          <p:cNvPr id="22" name="Content Left Top"/>
          <p:cNvSpPr>
            <a:spLocks noGrp="1"/>
          </p:cNvSpPr>
          <p:nvPr>
            <p:ph idx="35"/>
          </p:nvPr>
        </p:nvSpPr>
        <p:spPr bwMode="gray">
          <a:xfrm>
            <a:off x="287455" y="4316632"/>
            <a:ext cx="5520000" cy="1852526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US" altLang="ja-JP" sz="1000" smtClean="0">
                <a:latin typeface="+mn-lt"/>
                <a:ea typeface="+mn-ea"/>
                <a:sym typeface="+mn-lt"/>
              </a:defRPr>
            </a:lvl1pPr>
            <a:lvl2pPr>
              <a:defRPr lang="en-US" altLang="ja-JP" sz="1000" smtClean="0">
                <a:latin typeface="+mn-lt"/>
                <a:ea typeface="+mn-ea"/>
                <a:sym typeface="+mn-lt"/>
              </a:defRPr>
            </a:lvl2pPr>
            <a:lvl3pPr>
              <a:defRPr lang="en-US" altLang="ja-JP" sz="1000" smtClean="0">
                <a:latin typeface="+mn-lt"/>
                <a:ea typeface="+mn-ea"/>
                <a:sym typeface="+mn-lt"/>
              </a:defRPr>
            </a:lvl3pPr>
            <a:lvl4pPr>
              <a:defRPr lang="en-US" altLang="ja-JP" sz="1000" smtClean="0">
                <a:latin typeface="+mn-lt"/>
                <a:ea typeface="+mn-ea"/>
                <a:sym typeface="+mn-lt"/>
              </a:defRPr>
            </a:lvl4pPr>
            <a:lvl5pPr>
              <a:defRPr lang="en-GB" sz="1000" dirty="0" smtClean="0">
                <a:latin typeface="+mn-lt"/>
                <a:ea typeface="+mn-ea"/>
                <a:sym typeface="+mn-lt"/>
              </a:defRPr>
            </a:lvl5pPr>
          </a:lstStyle>
          <a:p>
            <a:pPr lvl="0">
              <a:lnSpc>
                <a:spcPct val="100000"/>
              </a:lnSpc>
            </a:pPr>
            <a:r>
              <a:rPr lang="en-US" altLang="ja-JP"/>
              <a:t>Click to edit Master text styles</a:t>
            </a:r>
          </a:p>
          <a:p>
            <a:pPr lvl="1">
              <a:lnSpc>
                <a:spcPct val="100000"/>
              </a:lnSpc>
            </a:pPr>
            <a:r>
              <a:rPr lang="en-US" altLang="ja-JP"/>
              <a:t>Second level</a:t>
            </a:r>
          </a:p>
          <a:p>
            <a:pPr lvl="2">
              <a:lnSpc>
                <a:spcPct val="100000"/>
              </a:lnSpc>
            </a:pPr>
            <a:r>
              <a:rPr lang="en-US" altLang="ja-JP"/>
              <a:t>Third level</a:t>
            </a:r>
          </a:p>
          <a:p>
            <a:pPr lvl="3">
              <a:lnSpc>
                <a:spcPct val="100000"/>
              </a:lnSpc>
            </a:pPr>
            <a:r>
              <a:rPr lang="en-US" altLang="ja-JP"/>
              <a:t>Fourth level</a:t>
            </a:r>
          </a:p>
          <a:p>
            <a:pPr lvl="4">
              <a:lnSpc>
                <a:spcPct val="100000"/>
              </a:lnSpc>
            </a:pPr>
            <a:r>
              <a:rPr lang="en-US" altLang="ja-JP"/>
              <a:t>Fifth level</a:t>
            </a:r>
            <a:endParaRPr lang="en-GB" dirty="0"/>
          </a:p>
        </p:txBody>
      </p:sp>
      <p:sp>
        <p:nvSpPr>
          <p:cNvPr id="23" name="Heading Right Top"/>
          <p:cNvSpPr>
            <a:spLocks noGrp="1"/>
          </p:cNvSpPr>
          <p:nvPr>
            <p:ph type="body" sz="quarter" idx="36" hasCustomPrompt="1"/>
          </p:nvPr>
        </p:nvSpPr>
        <p:spPr bwMode="gray">
          <a:xfrm>
            <a:off x="6393053" y="3843558"/>
            <a:ext cx="5520000" cy="307777"/>
          </a:xfrm>
        </p:spPr>
        <p:txBody>
          <a:bodyPr wrap="square" lIns="0" tIns="0" rIns="0" bIns="0"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000" b="1">
                <a:solidFill>
                  <a:schemeClr val="accent1"/>
                </a:solidFill>
                <a:latin typeface="+mn-lt"/>
                <a:sym typeface="+mn-lt"/>
              </a:defRPr>
            </a:lvl1pPr>
            <a:lvl2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000">
                <a:solidFill>
                  <a:schemeClr val="accent1"/>
                </a:solidFill>
                <a:latin typeface="+mn-lt"/>
                <a:sym typeface="+mn-lt"/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Heading 10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4" name="Heading Left Top"/>
          <p:cNvSpPr>
            <a:spLocks noGrp="1"/>
          </p:cNvSpPr>
          <p:nvPr>
            <p:ph type="body" sz="quarter" idx="37" hasCustomPrompt="1"/>
          </p:nvPr>
        </p:nvSpPr>
        <p:spPr bwMode="gray">
          <a:xfrm>
            <a:off x="287455" y="3843558"/>
            <a:ext cx="5520000" cy="307777"/>
          </a:xfrm>
        </p:spPr>
        <p:txBody>
          <a:bodyPr wrap="square" lIns="0" tIns="0" rIns="0" bIns="0"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000" b="1">
                <a:solidFill>
                  <a:schemeClr val="accent1"/>
                </a:solidFill>
                <a:latin typeface="+mn-lt"/>
                <a:sym typeface="+mn-lt"/>
              </a:defRPr>
            </a:lvl1pPr>
            <a:lvl2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000">
                <a:solidFill>
                  <a:schemeClr val="accent1"/>
                </a:solidFill>
                <a:latin typeface="+mn-lt"/>
                <a:sym typeface="+mn-lt"/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Heading 10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0 </a:t>
            </a:r>
            <a:r>
              <a:rPr lang="en-US" dirty="0" err="1"/>
              <a:t>p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08292985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Content Right"/>
          <p:cNvSpPr>
            <a:spLocks noGrp="1"/>
          </p:cNvSpPr>
          <p:nvPr>
            <p:ph idx="27"/>
          </p:nvPr>
        </p:nvSpPr>
        <p:spPr bwMode="gray">
          <a:xfrm>
            <a:off x="8313053" y="1341114"/>
            <a:ext cx="3600000" cy="4828044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fontAlgn="base">
              <a:lnSpc>
                <a:spcPct val="100000"/>
              </a:lnSpc>
              <a:spcAft>
                <a:spcPts val="0"/>
              </a:spcAft>
              <a:defRPr lang="en-US" sz="120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sz="120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sz="120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sz="120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sz="1200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 sz="1200"/>
            </a:lvl6pPr>
            <a:lvl7pPr fontAlgn="base">
              <a:lnSpc>
                <a:spcPct val="100000"/>
              </a:lnSpc>
              <a:spcAft>
                <a:spcPts val="0"/>
              </a:spcAft>
              <a:defRPr sz="1200"/>
            </a:lvl7pPr>
            <a:lvl8pPr fontAlgn="base">
              <a:lnSpc>
                <a:spcPct val="100000"/>
              </a:lnSpc>
              <a:spcAft>
                <a:spcPts val="0"/>
              </a:spcAft>
              <a:defRPr sz="1200"/>
            </a:lvl8pPr>
            <a:lvl9pPr fontAlgn="base">
              <a:lnSpc>
                <a:spcPct val="100000"/>
              </a:lnSpc>
              <a:spcAft>
                <a:spcPts val="0"/>
              </a:spcAft>
              <a:defRPr sz="1200"/>
            </a:lvl9pPr>
          </a:lstStyle>
          <a:p>
            <a:pPr lvl="0"/>
            <a:r>
              <a:rPr lang="en-US" altLang="ja-JP"/>
              <a:t>Click to edit Master text styles</a:t>
            </a:r>
          </a:p>
          <a:p>
            <a:pPr lvl="1"/>
            <a:r>
              <a:rPr lang="en-US" altLang="ja-JP"/>
              <a:t>Second level</a:t>
            </a:r>
          </a:p>
          <a:p>
            <a:pPr lvl="2"/>
            <a:r>
              <a:rPr lang="en-US" altLang="ja-JP"/>
              <a:t>Third level</a:t>
            </a:r>
          </a:p>
          <a:p>
            <a:pPr lvl="3"/>
            <a:r>
              <a:rPr lang="en-US" altLang="ja-JP"/>
              <a:t>Fourth level</a:t>
            </a:r>
          </a:p>
          <a:p>
            <a:pPr lvl="4"/>
            <a:r>
              <a:rPr lang="en-US" altLang="ja-JP"/>
              <a:t>Fifth level</a:t>
            </a:r>
            <a:endParaRPr lang="en-GB" dirty="0"/>
          </a:p>
        </p:txBody>
      </p:sp>
      <p:sp>
        <p:nvSpPr>
          <p:cNvPr id="14" name="Content Middle"/>
          <p:cNvSpPr>
            <a:spLocks noGrp="1"/>
          </p:cNvSpPr>
          <p:nvPr>
            <p:ph idx="26"/>
          </p:nvPr>
        </p:nvSpPr>
        <p:spPr bwMode="gray">
          <a:xfrm>
            <a:off x="4300252" y="1341114"/>
            <a:ext cx="3600000" cy="4828044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sz="1200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 sz="1200"/>
            </a:lvl6pPr>
            <a:lvl7pPr fontAlgn="base">
              <a:lnSpc>
                <a:spcPct val="100000"/>
              </a:lnSpc>
              <a:spcAft>
                <a:spcPts val="0"/>
              </a:spcAft>
              <a:defRPr sz="1200"/>
            </a:lvl7pPr>
            <a:lvl8pPr fontAlgn="base">
              <a:lnSpc>
                <a:spcPct val="100000"/>
              </a:lnSpc>
              <a:spcAft>
                <a:spcPts val="0"/>
              </a:spcAft>
              <a:defRPr sz="1200"/>
            </a:lvl8pPr>
            <a:lvl9pPr fontAlgn="base">
              <a:lnSpc>
                <a:spcPct val="100000"/>
              </a:lnSpc>
              <a:spcAft>
                <a:spcPts val="0"/>
              </a:spcAft>
              <a:defRPr sz="1200"/>
            </a:lvl9pPr>
          </a:lstStyle>
          <a:p>
            <a:pPr lvl="0"/>
            <a:r>
              <a:rPr lang="en-US" altLang="ja-JP"/>
              <a:t>Click to edit Master text styles</a:t>
            </a:r>
          </a:p>
          <a:p>
            <a:pPr lvl="1"/>
            <a:r>
              <a:rPr lang="en-US" altLang="ja-JP"/>
              <a:t>Second level</a:t>
            </a:r>
          </a:p>
          <a:p>
            <a:pPr lvl="2"/>
            <a:r>
              <a:rPr lang="en-US" altLang="ja-JP"/>
              <a:t>Third level</a:t>
            </a:r>
          </a:p>
          <a:p>
            <a:pPr lvl="3"/>
            <a:r>
              <a:rPr lang="en-US" altLang="ja-JP"/>
              <a:t>Fourth level</a:t>
            </a:r>
          </a:p>
          <a:p>
            <a:pPr lvl="4"/>
            <a:r>
              <a:rPr lang="en-US" altLang="ja-JP"/>
              <a:t>Fifth level</a:t>
            </a:r>
            <a:endParaRPr lang="en-GB" dirty="0"/>
          </a:p>
        </p:txBody>
      </p:sp>
      <p:sp>
        <p:nvSpPr>
          <p:cNvPr id="13" name="Content Left"/>
          <p:cNvSpPr>
            <a:spLocks noGrp="1"/>
          </p:cNvSpPr>
          <p:nvPr>
            <p:ph idx="25"/>
          </p:nvPr>
        </p:nvSpPr>
        <p:spPr bwMode="gray">
          <a:xfrm>
            <a:off x="287452" y="1341114"/>
            <a:ext cx="3600000" cy="4828044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fontAlgn="base">
              <a:lnSpc>
                <a:spcPct val="100000"/>
              </a:lnSpc>
              <a:spcAft>
                <a:spcPts val="0"/>
              </a:spcAft>
              <a:defRPr lang="en-US" sz="120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sz="120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sz="120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sz="120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sz="1200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 sz="1200"/>
            </a:lvl6pPr>
            <a:lvl7pPr fontAlgn="base">
              <a:lnSpc>
                <a:spcPct val="100000"/>
              </a:lnSpc>
              <a:spcAft>
                <a:spcPts val="0"/>
              </a:spcAft>
              <a:defRPr sz="1200"/>
            </a:lvl7pPr>
            <a:lvl8pPr fontAlgn="base">
              <a:lnSpc>
                <a:spcPct val="100000"/>
              </a:lnSpc>
              <a:spcAft>
                <a:spcPts val="0"/>
              </a:spcAft>
              <a:defRPr sz="1200"/>
            </a:lvl8pPr>
            <a:lvl9pPr fontAlgn="base">
              <a:lnSpc>
                <a:spcPct val="100000"/>
              </a:lnSpc>
              <a:spcAft>
                <a:spcPts val="0"/>
              </a:spcAft>
              <a:defRPr sz="1200"/>
            </a:lvl9pPr>
          </a:lstStyle>
          <a:p>
            <a:pPr lvl="0"/>
            <a:r>
              <a:rPr lang="en-US" altLang="ja-JP"/>
              <a:t>Click to edit Master text styles</a:t>
            </a:r>
          </a:p>
          <a:p>
            <a:pPr lvl="1"/>
            <a:r>
              <a:rPr lang="en-US" altLang="ja-JP"/>
              <a:t>Second level</a:t>
            </a:r>
          </a:p>
          <a:p>
            <a:pPr lvl="2"/>
            <a:r>
              <a:rPr lang="en-US" altLang="ja-JP"/>
              <a:t>Third level</a:t>
            </a:r>
          </a:p>
          <a:p>
            <a:pPr lvl="3"/>
            <a:r>
              <a:rPr lang="en-US" altLang="ja-JP"/>
              <a:t>Fourth level</a:t>
            </a:r>
          </a:p>
          <a:p>
            <a:pPr lvl="4"/>
            <a:r>
              <a:rPr lang="en-US" altLang="ja-JP"/>
              <a:t>Fifth level</a:t>
            </a:r>
            <a:endParaRPr lang="en-GB" dirty="0"/>
          </a:p>
        </p:txBody>
      </p:sp>
      <p:sp>
        <p:nvSpPr>
          <p:cNvPr id="7" name="Title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gray">
          <a:xfrm>
            <a:off x="287453" y="1"/>
            <a:ext cx="11625600" cy="1011600"/>
          </a:xfrm>
          <a:prstGeom prst="rect">
            <a:avLst/>
          </a:prstGeom>
        </p:spPr>
        <p:txBody>
          <a:bodyPr anchor="b"/>
          <a:lstStyle/>
          <a:p>
            <a:pPr lvl="0"/>
            <a:r>
              <a:rPr lang="en-US" altLang="ja-JP"/>
              <a:t>Click to edit Master title style</a:t>
            </a:r>
            <a:endParaRPr lang="en-GB" dirty="0"/>
          </a:p>
        </p:txBody>
      </p:sp>
      <p:sp>
        <p:nvSpPr>
          <p:cNvPr id="6" name="Content"/>
          <p:cNvSpPr>
            <a:spLocks noGrp="1"/>
          </p:cNvSpPr>
          <p:nvPr>
            <p:ph idx="10" hasCustomPrompt="1"/>
          </p:nvPr>
        </p:nvSpPr>
        <p:spPr bwMode="gray">
          <a:xfrm>
            <a:off x="287453" y="6046048"/>
            <a:ext cx="11625600" cy="123111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en-US" sz="800" dirty="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/>
            </a:lvl6pPr>
            <a:lvl7pPr fontAlgn="base">
              <a:lnSpc>
                <a:spcPct val="100000"/>
              </a:lnSpc>
              <a:spcAft>
                <a:spcPts val="0"/>
              </a:spcAft>
              <a:defRPr/>
            </a:lvl7pPr>
            <a:lvl8pPr fontAlgn="base">
              <a:lnSpc>
                <a:spcPct val="100000"/>
              </a:lnSpc>
              <a:spcAft>
                <a:spcPts val="0"/>
              </a:spcAft>
              <a:defRPr/>
            </a:lvl8pPr>
            <a:lvl9pPr fontAlgn="base">
              <a:lnSpc>
                <a:spcPct val="100000"/>
              </a:lnSpc>
              <a:spcAft>
                <a:spcPts val="0"/>
              </a:spcAft>
              <a:defRPr/>
            </a:lvl9pPr>
          </a:lstStyle>
          <a:p>
            <a:pPr lvl="0"/>
            <a:r>
              <a:rPr lang="en-GB" dirty="0"/>
              <a:t>Source: </a:t>
            </a:r>
          </a:p>
        </p:txBody>
      </p:sp>
    </p:spTree>
    <p:extLst>
      <p:ext uri="{BB962C8B-B14F-4D97-AF65-F5344CB8AC3E}">
        <p14:creationId xmlns:p14="http://schemas.microsoft.com/office/powerpoint/2010/main" val="767720543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with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Content Right"/>
          <p:cNvSpPr>
            <a:spLocks noGrp="1"/>
          </p:cNvSpPr>
          <p:nvPr>
            <p:ph idx="27"/>
          </p:nvPr>
        </p:nvSpPr>
        <p:spPr bwMode="gray">
          <a:xfrm>
            <a:off x="8313053" y="1882448"/>
            <a:ext cx="3600000" cy="4286711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fontAlgn="base">
              <a:lnSpc>
                <a:spcPct val="100000"/>
              </a:lnSpc>
              <a:spcAft>
                <a:spcPts val="0"/>
              </a:spcAft>
              <a:defRPr lang="en-US" sz="120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sz="120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sz="120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sz="120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sz="1200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 sz="1200"/>
            </a:lvl6pPr>
            <a:lvl7pPr fontAlgn="base">
              <a:lnSpc>
                <a:spcPct val="100000"/>
              </a:lnSpc>
              <a:spcAft>
                <a:spcPts val="0"/>
              </a:spcAft>
              <a:defRPr sz="1200"/>
            </a:lvl7pPr>
            <a:lvl8pPr fontAlgn="base">
              <a:lnSpc>
                <a:spcPct val="100000"/>
              </a:lnSpc>
              <a:spcAft>
                <a:spcPts val="0"/>
              </a:spcAft>
              <a:defRPr sz="1200"/>
            </a:lvl8pPr>
            <a:lvl9pPr fontAlgn="base">
              <a:lnSpc>
                <a:spcPct val="100000"/>
              </a:lnSpc>
              <a:spcAft>
                <a:spcPts val="0"/>
              </a:spcAft>
              <a:defRPr sz="1200"/>
            </a:lvl9pPr>
          </a:lstStyle>
          <a:p>
            <a:pPr lvl="0"/>
            <a:r>
              <a:rPr lang="en-US" altLang="ja-JP"/>
              <a:t>Click to edit Master text styles</a:t>
            </a:r>
          </a:p>
          <a:p>
            <a:pPr lvl="1"/>
            <a:r>
              <a:rPr lang="en-US" altLang="ja-JP"/>
              <a:t>Second level</a:t>
            </a:r>
          </a:p>
          <a:p>
            <a:pPr lvl="2"/>
            <a:r>
              <a:rPr lang="en-US" altLang="ja-JP"/>
              <a:t>Third level</a:t>
            </a:r>
          </a:p>
          <a:p>
            <a:pPr lvl="3"/>
            <a:r>
              <a:rPr lang="en-US" altLang="ja-JP"/>
              <a:t>Fourth level</a:t>
            </a:r>
          </a:p>
          <a:p>
            <a:pPr lvl="4"/>
            <a:r>
              <a:rPr lang="en-US" altLang="ja-JP"/>
              <a:t>Fifth level</a:t>
            </a:r>
            <a:endParaRPr lang="en-GB" dirty="0"/>
          </a:p>
        </p:txBody>
      </p:sp>
      <p:sp>
        <p:nvSpPr>
          <p:cNvPr id="17" name="Content Middle"/>
          <p:cNvSpPr>
            <a:spLocks noGrp="1"/>
          </p:cNvSpPr>
          <p:nvPr>
            <p:ph idx="26"/>
          </p:nvPr>
        </p:nvSpPr>
        <p:spPr bwMode="gray">
          <a:xfrm>
            <a:off x="4300252" y="1882448"/>
            <a:ext cx="3600000" cy="4286711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sz="1200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 sz="1200"/>
            </a:lvl6pPr>
            <a:lvl7pPr fontAlgn="base">
              <a:lnSpc>
                <a:spcPct val="100000"/>
              </a:lnSpc>
              <a:spcAft>
                <a:spcPts val="0"/>
              </a:spcAft>
              <a:defRPr sz="1200"/>
            </a:lvl7pPr>
            <a:lvl8pPr fontAlgn="base">
              <a:lnSpc>
                <a:spcPct val="100000"/>
              </a:lnSpc>
              <a:spcAft>
                <a:spcPts val="0"/>
              </a:spcAft>
              <a:defRPr sz="1200"/>
            </a:lvl8pPr>
            <a:lvl9pPr fontAlgn="base">
              <a:lnSpc>
                <a:spcPct val="100000"/>
              </a:lnSpc>
              <a:spcAft>
                <a:spcPts val="0"/>
              </a:spcAft>
              <a:defRPr sz="1200"/>
            </a:lvl9pPr>
          </a:lstStyle>
          <a:p>
            <a:pPr lvl="0"/>
            <a:r>
              <a:rPr lang="en-US" altLang="ja-JP"/>
              <a:t>Click to edit Master text styles</a:t>
            </a:r>
          </a:p>
          <a:p>
            <a:pPr lvl="1"/>
            <a:r>
              <a:rPr lang="en-US" altLang="ja-JP"/>
              <a:t>Second level</a:t>
            </a:r>
          </a:p>
          <a:p>
            <a:pPr lvl="2"/>
            <a:r>
              <a:rPr lang="en-US" altLang="ja-JP"/>
              <a:t>Third level</a:t>
            </a:r>
          </a:p>
          <a:p>
            <a:pPr lvl="3"/>
            <a:r>
              <a:rPr lang="en-US" altLang="ja-JP"/>
              <a:t>Fourth level</a:t>
            </a:r>
          </a:p>
          <a:p>
            <a:pPr lvl="4"/>
            <a:r>
              <a:rPr lang="en-US" altLang="ja-JP"/>
              <a:t>Fifth level</a:t>
            </a:r>
            <a:endParaRPr lang="en-GB" dirty="0"/>
          </a:p>
        </p:txBody>
      </p:sp>
      <p:sp>
        <p:nvSpPr>
          <p:cNvPr id="16" name="Content Left"/>
          <p:cNvSpPr>
            <a:spLocks noGrp="1"/>
          </p:cNvSpPr>
          <p:nvPr>
            <p:ph idx="25"/>
          </p:nvPr>
        </p:nvSpPr>
        <p:spPr bwMode="gray">
          <a:xfrm>
            <a:off x="287452" y="1882448"/>
            <a:ext cx="3600000" cy="4286711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sz="1200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 sz="1200"/>
            </a:lvl6pPr>
            <a:lvl7pPr fontAlgn="base">
              <a:lnSpc>
                <a:spcPct val="100000"/>
              </a:lnSpc>
              <a:spcAft>
                <a:spcPts val="0"/>
              </a:spcAft>
              <a:defRPr sz="1200"/>
            </a:lvl7pPr>
            <a:lvl8pPr fontAlgn="base">
              <a:lnSpc>
                <a:spcPct val="100000"/>
              </a:lnSpc>
              <a:spcAft>
                <a:spcPts val="0"/>
              </a:spcAft>
              <a:defRPr sz="1200"/>
            </a:lvl8pPr>
            <a:lvl9pPr fontAlgn="base">
              <a:lnSpc>
                <a:spcPct val="100000"/>
              </a:lnSpc>
              <a:spcAft>
                <a:spcPts val="0"/>
              </a:spcAft>
              <a:defRPr sz="1200"/>
            </a:lvl9pPr>
          </a:lstStyle>
          <a:p>
            <a:pPr lvl="0"/>
            <a:r>
              <a:rPr lang="en-US" altLang="ja-JP"/>
              <a:t>Click to edit Master text styles</a:t>
            </a:r>
          </a:p>
          <a:p>
            <a:pPr lvl="1"/>
            <a:r>
              <a:rPr lang="en-US" altLang="ja-JP"/>
              <a:t>Second level</a:t>
            </a:r>
          </a:p>
          <a:p>
            <a:pPr lvl="2"/>
            <a:r>
              <a:rPr lang="en-US" altLang="ja-JP"/>
              <a:t>Third level</a:t>
            </a:r>
          </a:p>
          <a:p>
            <a:pPr lvl="3"/>
            <a:r>
              <a:rPr lang="en-US" altLang="ja-JP"/>
              <a:t>Fourth level</a:t>
            </a:r>
          </a:p>
          <a:p>
            <a:pPr lvl="4"/>
            <a:r>
              <a:rPr lang="en-US" altLang="ja-JP"/>
              <a:t>Fifth level</a:t>
            </a:r>
            <a:endParaRPr lang="en-GB" dirty="0"/>
          </a:p>
        </p:txBody>
      </p:sp>
      <p:sp>
        <p:nvSpPr>
          <p:cNvPr id="21" name="Heading Right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8313053" y="1337514"/>
            <a:ext cx="3600000" cy="369332"/>
          </a:xfrm>
        </p:spPr>
        <p:txBody>
          <a:bodyPr wrap="square" lIns="0" tIns="0" rIns="0" bIns="0"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200" b="1">
                <a:solidFill>
                  <a:schemeClr val="accent1"/>
                </a:solidFill>
                <a:latin typeface="+mn-lt"/>
                <a:sym typeface="+mn-lt"/>
              </a:defRPr>
            </a:lvl1pPr>
            <a:lvl2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200" b="0" baseline="0">
                <a:solidFill>
                  <a:schemeClr val="accent1"/>
                </a:solidFill>
                <a:latin typeface="+mn-lt"/>
                <a:sym typeface="+mn-lt"/>
              </a:defRPr>
            </a:lvl2pPr>
          </a:lstStyle>
          <a:p>
            <a:pPr lvl="0"/>
            <a:r>
              <a:rPr lang="en-US" dirty="0"/>
              <a:t>Heading 12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2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2" name="Heading Middle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300253" y="1337514"/>
            <a:ext cx="3600000" cy="369332"/>
          </a:xfrm>
        </p:spPr>
        <p:txBody>
          <a:bodyPr lIns="0" tIns="0" rIns="0" bIns="0"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200" b="1">
                <a:solidFill>
                  <a:schemeClr val="accent1"/>
                </a:solidFill>
                <a:latin typeface="+mn-lt"/>
                <a:sym typeface="+mn-lt"/>
              </a:defRPr>
            </a:lvl1pPr>
            <a:lvl2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200" b="0" baseline="0">
                <a:solidFill>
                  <a:schemeClr val="accent1"/>
                </a:solidFill>
                <a:latin typeface="+mn-lt"/>
                <a:sym typeface="+mn-lt"/>
              </a:defRPr>
            </a:lvl2pPr>
          </a:lstStyle>
          <a:p>
            <a:pPr lvl="0"/>
            <a:r>
              <a:rPr lang="en-US" dirty="0"/>
              <a:t>Heading 12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2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0" name="Heading Left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287453" y="1337514"/>
            <a:ext cx="3600000" cy="369332"/>
          </a:xfrm>
        </p:spPr>
        <p:txBody>
          <a:bodyPr lIns="0" tIns="0" rIns="0" bIns="0"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200" b="1">
                <a:solidFill>
                  <a:schemeClr val="accent1"/>
                </a:solidFill>
                <a:latin typeface="+mn-lt"/>
                <a:sym typeface="+mn-lt"/>
              </a:defRPr>
            </a:lvl1pPr>
            <a:lvl2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200" b="0" baseline="0">
                <a:solidFill>
                  <a:schemeClr val="accent1"/>
                </a:solidFill>
                <a:latin typeface="+mn-lt"/>
                <a:sym typeface="+mn-lt"/>
              </a:defRPr>
            </a:lvl2pPr>
          </a:lstStyle>
          <a:p>
            <a:pPr lvl="0"/>
            <a:r>
              <a:rPr lang="en-US" dirty="0"/>
              <a:t>Heading 12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2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10" name="Title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gray">
          <a:xfrm>
            <a:off x="287453" y="1"/>
            <a:ext cx="11625600" cy="1011600"/>
          </a:xfrm>
          <a:prstGeom prst="rect">
            <a:avLst/>
          </a:prstGeom>
        </p:spPr>
        <p:txBody>
          <a:bodyPr anchor="b"/>
          <a:lstStyle/>
          <a:p>
            <a:pPr lvl="0"/>
            <a:r>
              <a:rPr lang="en-US" altLang="ja-JP"/>
              <a:t>Click to edit Master title style</a:t>
            </a:r>
            <a:endParaRPr lang="en-GB" dirty="0"/>
          </a:p>
        </p:txBody>
      </p:sp>
      <p:sp>
        <p:nvSpPr>
          <p:cNvPr id="9" name="Content"/>
          <p:cNvSpPr>
            <a:spLocks noGrp="1"/>
          </p:cNvSpPr>
          <p:nvPr>
            <p:ph idx="10" hasCustomPrompt="1"/>
          </p:nvPr>
        </p:nvSpPr>
        <p:spPr bwMode="gray">
          <a:xfrm>
            <a:off x="287453" y="6046048"/>
            <a:ext cx="11625600" cy="123111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en-US" sz="800" dirty="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/>
            </a:lvl6pPr>
            <a:lvl7pPr fontAlgn="base">
              <a:lnSpc>
                <a:spcPct val="100000"/>
              </a:lnSpc>
              <a:spcAft>
                <a:spcPts val="0"/>
              </a:spcAft>
              <a:defRPr/>
            </a:lvl7pPr>
            <a:lvl8pPr fontAlgn="base">
              <a:lnSpc>
                <a:spcPct val="100000"/>
              </a:lnSpc>
              <a:spcAft>
                <a:spcPts val="0"/>
              </a:spcAft>
              <a:defRPr/>
            </a:lvl8pPr>
            <a:lvl9pPr fontAlgn="base">
              <a:lnSpc>
                <a:spcPct val="100000"/>
              </a:lnSpc>
              <a:spcAft>
                <a:spcPts val="0"/>
              </a:spcAft>
              <a:defRPr/>
            </a:lvl9pPr>
          </a:lstStyle>
          <a:p>
            <a:pPr lvl="0"/>
            <a:r>
              <a:rPr lang="en-GB" dirty="0"/>
              <a:t>Source: </a:t>
            </a:r>
          </a:p>
        </p:txBody>
      </p:sp>
    </p:spTree>
    <p:extLst>
      <p:ext uri="{BB962C8B-B14F-4D97-AF65-F5344CB8AC3E}">
        <p14:creationId xmlns:p14="http://schemas.microsoft.com/office/powerpoint/2010/main" val="1452510479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2/3 spl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Content Right"/>
          <p:cNvSpPr>
            <a:spLocks noGrp="1"/>
          </p:cNvSpPr>
          <p:nvPr>
            <p:ph idx="28"/>
          </p:nvPr>
        </p:nvSpPr>
        <p:spPr bwMode="gray">
          <a:xfrm>
            <a:off x="8313053" y="1882448"/>
            <a:ext cx="3600000" cy="4286711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sz="1200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 sz="1200"/>
            </a:lvl6pPr>
            <a:lvl7pPr fontAlgn="base">
              <a:lnSpc>
                <a:spcPct val="100000"/>
              </a:lnSpc>
              <a:spcAft>
                <a:spcPts val="0"/>
              </a:spcAft>
              <a:defRPr sz="1200"/>
            </a:lvl7pPr>
            <a:lvl8pPr fontAlgn="base">
              <a:lnSpc>
                <a:spcPct val="100000"/>
              </a:lnSpc>
              <a:spcAft>
                <a:spcPts val="0"/>
              </a:spcAft>
              <a:defRPr sz="1200"/>
            </a:lvl8pPr>
            <a:lvl9pPr fontAlgn="base">
              <a:lnSpc>
                <a:spcPct val="100000"/>
              </a:lnSpc>
              <a:spcAft>
                <a:spcPts val="0"/>
              </a:spcAft>
              <a:defRPr sz="1200"/>
            </a:lvl9pPr>
          </a:lstStyle>
          <a:p>
            <a:pPr lvl="0"/>
            <a:r>
              <a:rPr lang="en-US" altLang="ja-JP"/>
              <a:t>Click to edit Master text styles</a:t>
            </a:r>
          </a:p>
          <a:p>
            <a:pPr lvl="1"/>
            <a:r>
              <a:rPr lang="en-US" altLang="ja-JP"/>
              <a:t>Second level</a:t>
            </a:r>
          </a:p>
          <a:p>
            <a:pPr lvl="2"/>
            <a:r>
              <a:rPr lang="en-US" altLang="ja-JP"/>
              <a:t>Third level</a:t>
            </a:r>
          </a:p>
          <a:p>
            <a:pPr lvl="3"/>
            <a:r>
              <a:rPr lang="en-US" altLang="ja-JP"/>
              <a:t>Fourth level</a:t>
            </a:r>
          </a:p>
          <a:p>
            <a:pPr lvl="4"/>
            <a:r>
              <a:rPr lang="en-US" altLang="ja-JP"/>
              <a:t>Fifth level</a:t>
            </a:r>
            <a:endParaRPr lang="en-GB" dirty="0"/>
          </a:p>
        </p:txBody>
      </p:sp>
      <p:sp>
        <p:nvSpPr>
          <p:cNvPr id="19" name="Heading Right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8313053" y="1337514"/>
            <a:ext cx="3600000" cy="369332"/>
          </a:xfrm>
        </p:spPr>
        <p:txBody>
          <a:bodyPr lIns="0" tIns="0" rIns="0" bIns="0"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200" b="1">
                <a:solidFill>
                  <a:schemeClr val="accent1"/>
                </a:solidFill>
                <a:latin typeface="+mn-lt"/>
                <a:sym typeface="+mn-lt"/>
              </a:defRPr>
            </a:lvl1pPr>
            <a:lvl2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200">
                <a:solidFill>
                  <a:schemeClr val="accent1"/>
                </a:solidFill>
                <a:latin typeface="+mn-lt"/>
                <a:sym typeface="+mn-lt"/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Heading 12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2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8" name="Title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gray">
          <a:xfrm>
            <a:off x="287453" y="1"/>
            <a:ext cx="11625600" cy="1011600"/>
          </a:xfrm>
          <a:prstGeom prst="rect">
            <a:avLst/>
          </a:prstGeom>
        </p:spPr>
        <p:txBody>
          <a:bodyPr anchor="b"/>
          <a:lstStyle/>
          <a:p>
            <a:pPr lvl="0"/>
            <a:r>
              <a:rPr lang="en-US" altLang="ja-JP"/>
              <a:t>Click to edit Master title style</a:t>
            </a:r>
            <a:endParaRPr lang="en-GB" dirty="0"/>
          </a:p>
        </p:txBody>
      </p:sp>
      <p:sp>
        <p:nvSpPr>
          <p:cNvPr id="12" name="Content Middle"/>
          <p:cNvSpPr>
            <a:spLocks noGrp="1"/>
          </p:cNvSpPr>
          <p:nvPr>
            <p:ph idx="26"/>
          </p:nvPr>
        </p:nvSpPr>
        <p:spPr bwMode="gray">
          <a:xfrm>
            <a:off x="287454" y="1882448"/>
            <a:ext cx="7612799" cy="4286711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sz="1200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 sz="1200"/>
            </a:lvl6pPr>
            <a:lvl7pPr fontAlgn="base">
              <a:lnSpc>
                <a:spcPct val="100000"/>
              </a:lnSpc>
              <a:spcAft>
                <a:spcPts val="0"/>
              </a:spcAft>
              <a:defRPr sz="1200"/>
            </a:lvl7pPr>
            <a:lvl8pPr fontAlgn="base">
              <a:lnSpc>
                <a:spcPct val="100000"/>
              </a:lnSpc>
              <a:spcAft>
                <a:spcPts val="0"/>
              </a:spcAft>
              <a:defRPr sz="1200"/>
            </a:lvl8pPr>
            <a:lvl9pPr fontAlgn="base">
              <a:lnSpc>
                <a:spcPct val="100000"/>
              </a:lnSpc>
              <a:spcAft>
                <a:spcPts val="0"/>
              </a:spcAft>
              <a:defRPr sz="1200"/>
            </a:lvl9pPr>
          </a:lstStyle>
          <a:p>
            <a:pPr lvl="0"/>
            <a:r>
              <a:rPr lang="en-US" altLang="ja-JP"/>
              <a:t>Click to edit Master text styles</a:t>
            </a:r>
          </a:p>
          <a:p>
            <a:pPr lvl="1"/>
            <a:r>
              <a:rPr lang="en-US" altLang="ja-JP"/>
              <a:t>Second level</a:t>
            </a:r>
          </a:p>
          <a:p>
            <a:pPr lvl="2"/>
            <a:r>
              <a:rPr lang="en-US" altLang="ja-JP"/>
              <a:t>Third level</a:t>
            </a:r>
          </a:p>
          <a:p>
            <a:pPr lvl="3"/>
            <a:r>
              <a:rPr lang="en-US" altLang="ja-JP"/>
              <a:t>Fourth level</a:t>
            </a:r>
          </a:p>
          <a:p>
            <a:pPr lvl="4"/>
            <a:r>
              <a:rPr lang="en-US" altLang="ja-JP"/>
              <a:t>Fifth level</a:t>
            </a:r>
            <a:endParaRPr lang="en-GB" dirty="0"/>
          </a:p>
        </p:txBody>
      </p:sp>
      <p:sp>
        <p:nvSpPr>
          <p:cNvPr id="13" name="Heading Middle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87455" y="1337514"/>
            <a:ext cx="7612799" cy="369332"/>
          </a:xfrm>
        </p:spPr>
        <p:txBody>
          <a:bodyPr wrap="square" lIns="0" tIns="0" rIns="0" bIns="0"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200" b="1">
                <a:solidFill>
                  <a:schemeClr val="accent1"/>
                </a:solidFill>
                <a:latin typeface="+mn-lt"/>
                <a:sym typeface="+mn-lt"/>
              </a:defRPr>
            </a:lvl1pPr>
            <a:lvl2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200" b="0" baseline="0">
                <a:solidFill>
                  <a:schemeClr val="accent1"/>
                </a:solidFill>
                <a:latin typeface="+mn-lt"/>
                <a:sym typeface="+mn-lt"/>
              </a:defRPr>
            </a:lvl2pPr>
          </a:lstStyle>
          <a:p>
            <a:pPr lvl="0"/>
            <a:r>
              <a:rPr lang="en-US" dirty="0"/>
              <a:t>Heading 12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2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7" name="Content"/>
          <p:cNvSpPr>
            <a:spLocks noGrp="1"/>
          </p:cNvSpPr>
          <p:nvPr>
            <p:ph idx="10" hasCustomPrompt="1"/>
          </p:nvPr>
        </p:nvSpPr>
        <p:spPr bwMode="gray">
          <a:xfrm>
            <a:off x="287453" y="6046048"/>
            <a:ext cx="11625600" cy="123111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en-US" sz="800" dirty="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/>
            </a:lvl6pPr>
            <a:lvl7pPr fontAlgn="base">
              <a:lnSpc>
                <a:spcPct val="100000"/>
              </a:lnSpc>
              <a:spcAft>
                <a:spcPts val="0"/>
              </a:spcAft>
              <a:defRPr/>
            </a:lvl7pPr>
            <a:lvl8pPr fontAlgn="base">
              <a:lnSpc>
                <a:spcPct val="100000"/>
              </a:lnSpc>
              <a:spcAft>
                <a:spcPts val="0"/>
              </a:spcAft>
              <a:defRPr/>
            </a:lvl8pPr>
            <a:lvl9pPr fontAlgn="base">
              <a:lnSpc>
                <a:spcPct val="100000"/>
              </a:lnSpc>
              <a:spcAft>
                <a:spcPts val="0"/>
              </a:spcAft>
              <a:defRPr/>
            </a:lvl9pPr>
          </a:lstStyle>
          <a:p>
            <a:pPr lvl="0"/>
            <a:r>
              <a:rPr lang="en-GB" dirty="0"/>
              <a:t>Source: </a:t>
            </a:r>
          </a:p>
        </p:txBody>
      </p:sp>
    </p:spTree>
    <p:extLst>
      <p:ext uri="{BB962C8B-B14F-4D97-AF65-F5344CB8AC3E}">
        <p14:creationId xmlns:p14="http://schemas.microsoft.com/office/powerpoint/2010/main" val="2094392296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714389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ergy_Title Slide -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1396" y="3692"/>
            <a:ext cx="12201685" cy="685430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9" name="Freeform 8"/>
          <p:cNvSpPr/>
          <p:nvPr userDrawn="1"/>
        </p:nvSpPr>
        <p:spPr>
          <a:xfrm>
            <a:off x="-11936" y="-3148"/>
            <a:ext cx="11931119" cy="6867762"/>
          </a:xfrm>
          <a:custGeom>
            <a:avLst/>
            <a:gdLst>
              <a:gd name="connsiteX0" fmla="*/ 1643975 w 8501975"/>
              <a:gd name="connsiteY0" fmla="*/ 0 h 5175115"/>
              <a:gd name="connsiteX1" fmla="*/ 8501975 w 8501975"/>
              <a:gd name="connsiteY1" fmla="*/ 19455 h 5175115"/>
              <a:gd name="connsiteX2" fmla="*/ 4289898 w 8501975"/>
              <a:gd name="connsiteY2" fmla="*/ 5175115 h 5175115"/>
              <a:gd name="connsiteX3" fmla="*/ 0 w 8501975"/>
              <a:gd name="connsiteY3" fmla="*/ 5175115 h 5175115"/>
              <a:gd name="connsiteX4" fmla="*/ 0 w 8501975"/>
              <a:gd name="connsiteY4" fmla="*/ 4027251 h 5175115"/>
              <a:gd name="connsiteX5" fmla="*/ 1643975 w 8501975"/>
              <a:gd name="connsiteY5" fmla="*/ 0 h 5175115"/>
              <a:gd name="connsiteX0" fmla="*/ 1649126 w 8507126"/>
              <a:gd name="connsiteY0" fmla="*/ 0 h 5175115"/>
              <a:gd name="connsiteX1" fmla="*/ 8507126 w 8507126"/>
              <a:gd name="connsiteY1" fmla="*/ 19455 h 5175115"/>
              <a:gd name="connsiteX2" fmla="*/ 4295049 w 8507126"/>
              <a:gd name="connsiteY2" fmla="*/ 5175115 h 5175115"/>
              <a:gd name="connsiteX3" fmla="*/ 5151 w 8507126"/>
              <a:gd name="connsiteY3" fmla="*/ 5175115 h 5175115"/>
              <a:gd name="connsiteX4" fmla="*/ 0 w 8507126"/>
              <a:gd name="connsiteY4" fmla="*/ 4037554 h 5175115"/>
              <a:gd name="connsiteX5" fmla="*/ 1649126 w 8507126"/>
              <a:gd name="connsiteY5" fmla="*/ 0 h 5175115"/>
              <a:gd name="connsiteX0" fmla="*/ 1649127 w 8507127"/>
              <a:gd name="connsiteY0" fmla="*/ 0 h 5175115"/>
              <a:gd name="connsiteX1" fmla="*/ 8507127 w 8507127"/>
              <a:gd name="connsiteY1" fmla="*/ 19455 h 5175115"/>
              <a:gd name="connsiteX2" fmla="*/ 4295050 w 8507127"/>
              <a:gd name="connsiteY2" fmla="*/ 5175115 h 5175115"/>
              <a:gd name="connsiteX3" fmla="*/ 0 w 8507127"/>
              <a:gd name="connsiteY3" fmla="*/ 5175115 h 5175115"/>
              <a:gd name="connsiteX4" fmla="*/ 1 w 8507127"/>
              <a:gd name="connsiteY4" fmla="*/ 4037554 h 5175115"/>
              <a:gd name="connsiteX5" fmla="*/ 1649127 w 8507127"/>
              <a:gd name="connsiteY5" fmla="*/ 0 h 5175115"/>
              <a:gd name="connsiteX0" fmla="*/ 1690339 w 8507127"/>
              <a:gd name="connsiteY0" fmla="*/ 34637 h 5155660"/>
              <a:gd name="connsiteX1" fmla="*/ 8507127 w 8507127"/>
              <a:gd name="connsiteY1" fmla="*/ 0 h 5155660"/>
              <a:gd name="connsiteX2" fmla="*/ 4295050 w 8507127"/>
              <a:gd name="connsiteY2" fmla="*/ 5155660 h 5155660"/>
              <a:gd name="connsiteX3" fmla="*/ 0 w 8507127"/>
              <a:gd name="connsiteY3" fmla="*/ 5155660 h 5155660"/>
              <a:gd name="connsiteX4" fmla="*/ 1 w 8507127"/>
              <a:gd name="connsiteY4" fmla="*/ 4018099 h 5155660"/>
              <a:gd name="connsiteX5" fmla="*/ 1690339 w 8507127"/>
              <a:gd name="connsiteY5" fmla="*/ 34637 h 5155660"/>
              <a:gd name="connsiteX0" fmla="*/ 1651702 w 8507127"/>
              <a:gd name="connsiteY0" fmla="*/ 0 h 5157084"/>
              <a:gd name="connsiteX1" fmla="*/ 8507127 w 8507127"/>
              <a:gd name="connsiteY1" fmla="*/ 1424 h 5157084"/>
              <a:gd name="connsiteX2" fmla="*/ 4295050 w 8507127"/>
              <a:gd name="connsiteY2" fmla="*/ 5157084 h 5157084"/>
              <a:gd name="connsiteX3" fmla="*/ 0 w 8507127"/>
              <a:gd name="connsiteY3" fmla="*/ 5157084 h 5157084"/>
              <a:gd name="connsiteX4" fmla="*/ 1 w 8507127"/>
              <a:gd name="connsiteY4" fmla="*/ 4019523 h 5157084"/>
              <a:gd name="connsiteX5" fmla="*/ 1651702 w 8507127"/>
              <a:gd name="connsiteY5" fmla="*/ 0 h 5157084"/>
              <a:gd name="connsiteX0" fmla="*/ 1651702 w 8507127"/>
              <a:gd name="connsiteY0" fmla="*/ 0 h 5157084"/>
              <a:gd name="connsiteX1" fmla="*/ 8507127 w 8507127"/>
              <a:gd name="connsiteY1" fmla="*/ 1424 h 5157084"/>
              <a:gd name="connsiteX2" fmla="*/ 4295050 w 8507127"/>
              <a:gd name="connsiteY2" fmla="*/ 5157084 h 5157084"/>
              <a:gd name="connsiteX3" fmla="*/ 0 w 8507127"/>
              <a:gd name="connsiteY3" fmla="*/ 5157084 h 5157084"/>
              <a:gd name="connsiteX4" fmla="*/ 46365 w 8507127"/>
              <a:gd name="connsiteY4" fmla="*/ 4006644 h 5157084"/>
              <a:gd name="connsiteX5" fmla="*/ 1651702 w 8507127"/>
              <a:gd name="connsiteY5" fmla="*/ 0 h 5157084"/>
              <a:gd name="connsiteX0" fmla="*/ 1651702 w 8507127"/>
              <a:gd name="connsiteY0" fmla="*/ 0 h 5157084"/>
              <a:gd name="connsiteX1" fmla="*/ 8507127 w 8507127"/>
              <a:gd name="connsiteY1" fmla="*/ 1424 h 5157084"/>
              <a:gd name="connsiteX2" fmla="*/ 4295050 w 8507127"/>
              <a:gd name="connsiteY2" fmla="*/ 5157084 h 5157084"/>
              <a:gd name="connsiteX3" fmla="*/ 0 w 8507127"/>
              <a:gd name="connsiteY3" fmla="*/ 5157084 h 5157084"/>
              <a:gd name="connsiteX4" fmla="*/ 15455 w 8507127"/>
              <a:gd name="connsiteY4" fmla="*/ 3973159 h 5157084"/>
              <a:gd name="connsiteX5" fmla="*/ 1651702 w 8507127"/>
              <a:gd name="connsiteY5" fmla="*/ 0 h 5157084"/>
              <a:gd name="connsiteX0" fmla="*/ 1636247 w 8491672"/>
              <a:gd name="connsiteY0" fmla="*/ 0 h 5157084"/>
              <a:gd name="connsiteX1" fmla="*/ 8491672 w 8491672"/>
              <a:gd name="connsiteY1" fmla="*/ 1424 h 5157084"/>
              <a:gd name="connsiteX2" fmla="*/ 4279595 w 8491672"/>
              <a:gd name="connsiteY2" fmla="*/ 5157084 h 5157084"/>
              <a:gd name="connsiteX3" fmla="*/ 64394 w 8491672"/>
              <a:gd name="connsiteY3" fmla="*/ 5157084 h 5157084"/>
              <a:gd name="connsiteX4" fmla="*/ 0 w 8491672"/>
              <a:gd name="connsiteY4" fmla="*/ 3973159 h 5157084"/>
              <a:gd name="connsiteX5" fmla="*/ 1636247 w 8491672"/>
              <a:gd name="connsiteY5" fmla="*/ 0 h 5157084"/>
              <a:gd name="connsiteX0" fmla="*/ 1638823 w 8494248"/>
              <a:gd name="connsiteY0" fmla="*/ 0 h 5157084"/>
              <a:gd name="connsiteX1" fmla="*/ 8494248 w 8494248"/>
              <a:gd name="connsiteY1" fmla="*/ 1424 h 5157084"/>
              <a:gd name="connsiteX2" fmla="*/ 4282171 w 8494248"/>
              <a:gd name="connsiteY2" fmla="*/ 5157084 h 5157084"/>
              <a:gd name="connsiteX3" fmla="*/ 0 w 8494248"/>
              <a:gd name="connsiteY3" fmla="*/ 5157084 h 5157084"/>
              <a:gd name="connsiteX4" fmla="*/ 2576 w 8494248"/>
              <a:gd name="connsiteY4" fmla="*/ 3973159 h 5157084"/>
              <a:gd name="connsiteX5" fmla="*/ 1638823 w 8494248"/>
              <a:gd name="connsiteY5" fmla="*/ 0 h 5157084"/>
              <a:gd name="connsiteX0" fmla="*/ 1638823 w 8494248"/>
              <a:gd name="connsiteY0" fmla="*/ 0 h 5157084"/>
              <a:gd name="connsiteX1" fmla="*/ 8494248 w 8494248"/>
              <a:gd name="connsiteY1" fmla="*/ 1424 h 5157084"/>
              <a:gd name="connsiteX2" fmla="*/ 4282171 w 8494248"/>
              <a:gd name="connsiteY2" fmla="*/ 5157084 h 5157084"/>
              <a:gd name="connsiteX3" fmla="*/ 0 w 8494248"/>
              <a:gd name="connsiteY3" fmla="*/ 5157084 h 5157084"/>
              <a:gd name="connsiteX4" fmla="*/ 38637 w 8494248"/>
              <a:gd name="connsiteY4" fmla="*/ 4029826 h 5157084"/>
              <a:gd name="connsiteX5" fmla="*/ 1638823 w 8494248"/>
              <a:gd name="connsiteY5" fmla="*/ 0 h 5157084"/>
              <a:gd name="connsiteX0" fmla="*/ 1641398 w 8496823"/>
              <a:gd name="connsiteY0" fmla="*/ 0 h 5157084"/>
              <a:gd name="connsiteX1" fmla="*/ 8496823 w 8496823"/>
              <a:gd name="connsiteY1" fmla="*/ 1424 h 5157084"/>
              <a:gd name="connsiteX2" fmla="*/ 4284746 w 8496823"/>
              <a:gd name="connsiteY2" fmla="*/ 5157084 h 5157084"/>
              <a:gd name="connsiteX3" fmla="*/ 2575 w 8496823"/>
              <a:gd name="connsiteY3" fmla="*/ 5157084 h 5157084"/>
              <a:gd name="connsiteX4" fmla="*/ 0 w 8496823"/>
              <a:gd name="connsiteY4" fmla="*/ 3983462 h 5157084"/>
              <a:gd name="connsiteX5" fmla="*/ 1641398 w 8496823"/>
              <a:gd name="connsiteY5" fmla="*/ 0 h 5157084"/>
              <a:gd name="connsiteX0" fmla="*/ 1638256 w 8496823"/>
              <a:gd name="connsiteY0" fmla="*/ 0 h 5157084"/>
              <a:gd name="connsiteX1" fmla="*/ 8496823 w 8496823"/>
              <a:gd name="connsiteY1" fmla="*/ 1424 h 5157084"/>
              <a:gd name="connsiteX2" fmla="*/ 4284746 w 8496823"/>
              <a:gd name="connsiteY2" fmla="*/ 5157084 h 5157084"/>
              <a:gd name="connsiteX3" fmla="*/ 2575 w 8496823"/>
              <a:gd name="connsiteY3" fmla="*/ 5157084 h 5157084"/>
              <a:gd name="connsiteX4" fmla="*/ 0 w 8496823"/>
              <a:gd name="connsiteY4" fmla="*/ 3983462 h 5157084"/>
              <a:gd name="connsiteX5" fmla="*/ 1638256 w 8496823"/>
              <a:gd name="connsiteY5" fmla="*/ 0 h 5157084"/>
              <a:gd name="connsiteX0" fmla="*/ 1638256 w 8496823"/>
              <a:gd name="connsiteY0" fmla="*/ 0 h 6846184"/>
              <a:gd name="connsiteX1" fmla="*/ 8496823 w 8496823"/>
              <a:gd name="connsiteY1" fmla="*/ 1424 h 6846184"/>
              <a:gd name="connsiteX2" fmla="*/ 2900446 w 8496823"/>
              <a:gd name="connsiteY2" fmla="*/ 6846184 h 6846184"/>
              <a:gd name="connsiteX3" fmla="*/ 2575 w 8496823"/>
              <a:gd name="connsiteY3" fmla="*/ 5157084 h 6846184"/>
              <a:gd name="connsiteX4" fmla="*/ 0 w 8496823"/>
              <a:gd name="connsiteY4" fmla="*/ 3983462 h 6846184"/>
              <a:gd name="connsiteX5" fmla="*/ 1638256 w 8496823"/>
              <a:gd name="connsiteY5" fmla="*/ 0 h 6846184"/>
              <a:gd name="connsiteX0" fmla="*/ 1648381 w 8506948"/>
              <a:gd name="connsiteY0" fmla="*/ 0 h 6858884"/>
              <a:gd name="connsiteX1" fmla="*/ 8506948 w 8506948"/>
              <a:gd name="connsiteY1" fmla="*/ 1424 h 6858884"/>
              <a:gd name="connsiteX2" fmla="*/ 2910571 w 8506948"/>
              <a:gd name="connsiteY2" fmla="*/ 6846184 h 6858884"/>
              <a:gd name="connsiteX3" fmla="*/ 0 w 8506948"/>
              <a:gd name="connsiteY3" fmla="*/ 6858884 h 6858884"/>
              <a:gd name="connsiteX4" fmla="*/ 10125 w 8506948"/>
              <a:gd name="connsiteY4" fmla="*/ 3983462 h 6858884"/>
              <a:gd name="connsiteX5" fmla="*/ 1648381 w 8506948"/>
              <a:gd name="connsiteY5" fmla="*/ 0 h 6858884"/>
              <a:gd name="connsiteX0" fmla="*/ 1597581 w 8506948"/>
              <a:gd name="connsiteY0" fmla="*/ 0 h 6858884"/>
              <a:gd name="connsiteX1" fmla="*/ 8506948 w 8506948"/>
              <a:gd name="connsiteY1" fmla="*/ 1424 h 6858884"/>
              <a:gd name="connsiteX2" fmla="*/ 2910571 w 8506948"/>
              <a:gd name="connsiteY2" fmla="*/ 6846184 h 6858884"/>
              <a:gd name="connsiteX3" fmla="*/ 0 w 8506948"/>
              <a:gd name="connsiteY3" fmla="*/ 6858884 h 6858884"/>
              <a:gd name="connsiteX4" fmla="*/ 10125 w 8506948"/>
              <a:gd name="connsiteY4" fmla="*/ 3983462 h 6858884"/>
              <a:gd name="connsiteX5" fmla="*/ 1597581 w 8506948"/>
              <a:gd name="connsiteY5" fmla="*/ 0 h 6858884"/>
              <a:gd name="connsiteX0" fmla="*/ 2083733 w 8993100"/>
              <a:gd name="connsiteY0" fmla="*/ 0 h 6858884"/>
              <a:gd name="connsiteX1" fmla="*/ 8993100 w 8993100"/>
              <a:gd name="connsiteY1" fmla="*/ 1424 h 6858884"/>
              <a:gd name="connsiteX2" fmla="*/ 3396723 w 8993100"/>
              <a:gd name="connsiteY2" fmla="*/ 6846184 h 6858884"/>
              <a:gd name="connsiteX3" fmla="*/ 486152 w 8993100"/>
              <a:gd name="connsiteY3" fmla="*/ 6858884 h 6858884"/>
              <a:gd name="connsiteX4" fmla="*/ 0 w 8993100"/>
              <a:gd name="connsiteY4" fmla="*/ 5136231 h 6858884"/>
              <a:gd name="connsiteX5" fmla="*/ 2083733 w 8993100"/>
              <a:gd name="connsiteY5" fmla="*/ 0 h 6858884"/>
              <a:gd name="connsiteX0" fmla="*/ 2083733 w 8993100"/>
              <a:gd name="connsiteY0" fmla="*/ 0 h 6862792"/>
              <a:gd name="connsiteX1" fmla="*/ 8993100 w 8993100"/>
              <a:gd name="connsiteY1" fmla="*/ 1424 h 6862792"/>
              <a:gd name="connsiteX2" fmla="*/ 3396723 w 8993100"/>
              <a:gd name="connsiteY2" fmla="*/ 6846184 h 6862792"/>
              <a:gd name="connsiteX3" fmla="*/ 9413 w 8993100"/>
              <a:gd name="connsiteY3" fmla="*/ 6862792 h 6862792"/>
              <a:gd name="connsiteX4" fmla="*/ 0 w 8993100"/>
              <a:gd name="connsiteY4" fmla="*/ 5136231 h 6862792"/>
              <a:gd name="connsiteX5" fmla="*/ 2083733 w 8993100"/>
              <a:gd name="connsiteY5" fmla="*/ 0 h 6862792"/>
              <a:gd name="connsiteX0" fmla="*/ 2083733 w 8993100"/>
              <a:gd name="connsiteY0" fmla="*/ 0 h 6862792"/>
              <a:gd name="connsiteX1" fmla="*/ 8993100 w 8993100"/>
              <a:gd name="connsiteY1" fmla="*/ 1424 h 6862792"/>
              <a:gd name="connsiteX2" fmla="*/ 3396723 w 8993100"/>
              <a:gd name="connsiteY2" fmla="*/ 6846184 h 6862792"/>
              <a:gd name="connsiteX3" fmla="*/ 9413 w 8993100"/>
              <a:gd name="connsiteY3" fmla="*/ 6862792 h 6862792"/>
              <a:gd name="connsiteX4" fmla="*/ 0 w 8993100"/>
              <a:gd name="connsiteY4" fmla="*/ 5124508 h 6862792"/>
              <a:gd name="connsiteX5" fmla="*/ 2083733 w 8993100"/>
              <a:gd name="connsiteY5" fmla="*/ 0 h 6862792"/>
              <a:gd name="connsiteX0" fmla="*/ 2083733 w 8993100"/>
              <a:gd name="connsiteY0" fmla="*/ 0 h 6862792"/>
              <a:gd name="connsiteX1" fmla="*/ 8993100 w 8993100"/>
              <a:gd name="connsiteY1" fmla="*/ 1424 h 6862792"/>
              <a:gd name="connsiteX2" fmla="*/ 3388908 w 8993100"/>
              <a:gd name="connsiteY2" fmla="*/ 6857907 h 6862792"/>
              <a:gd name="connsiteX3" fmla="*/ 9413 w 8993100"/>
              <a:gd name="connsiteY3" fmla="*/ 6862792 h 6862792"/>
              <a:gd name="connsiteX4" fmla="*/ 0 w 8993100"/>
              <a:gd name="connsiteY4" fmla="*/ 5124508 h 6862792"/>
              <a:gd name="connsiteX5" fmla="*/ 2083733 w 8993100"/>
              <a:gd name="connsiteY5" fmla="*/ 0 h 6862792"/>
              <a:gd name="connsiteX0" fmla="*/ 2083733 w 8993100"/>
              <a:gd name="connsiteY0" fmla="*/ 0 h 6862792"/>
              <a:gd name="connsiteX1" fmla="*/ 8993100 w 8993100"/>
              <a:gd name="connsiteY1" fmla="*/ 1424 h 6862792"/>
              <a:gd name="connsiteX2" fmla="*/ 3388908 w 8993100"/>
              <a:gd name="connsiteY2" fmla="*/ 6857907 h 6862792"/>
              <a:gd name="connsiteX3" fmla="*/ 9413 w 8993100"/>
              <a:gd name="connsiteY3" fmla="*/ 6862792 h 6862792"/>
              <a:gd name="connsiteX4" fmla="*/ 0 w 8993100"/>
              <a:gd name="connsiteY4" fmla="*/ 5124508 h 6862792"/>
              <a:gd name="connsiteX5" fmla="*/ 2083733 w 8993100"/>
              <a:gd name="connsiteY5" fmla="*/ 0 h 6862792"/>
              <a:gd name="connsiteX0" fmla="*/ 2083733 w 8993100"/>
              <a:gd name="connsiteY0" fmla="*/ 0 h 6857907"/>
              <a:gd name="connsiteX1" fmla="*/ 8993100 w 8993100"/>
              <a:gd name="connsiteY1" fmla="*/ 1424 h 6857907"/>
              <a:gd name="connsiteX2" fmla="*/ 3388908 w 8993100"/>
              <a:gd name="connsiteY2" fmla="*/ 6857907 h 6857907"/>
              <a:gd name="connsiteX3" fmla="*/ 99290 w 8993100"/>
              <a:gd name="connsiteY3" fmla="*/ 6851069 h 6857907"/>
              <a:gd name="connsiteX4" fmla="*/ 0 w 8993100"/>
              <a:gd name="connsiteY4" fmla="*/ 5124508 h 6857907"/>
              <a:gd name="connsiteX5" fmla="*/ 2083733 w 8993100"/>
              <a:gd name="connsiteY5" fmla="*/ 0 h 6857907"/>
              <a:gd name="connsiteX0" fmla="*/ 2083733 w 8993100"/>
              <a:gd name="connsiteY0" fmla="*/ 0 h 6862792"/>
              <a:gd name="connsiteX1" fmla="*/ 8993100 w 8993100"/>
              <a:gd name="connsiteY1" fmla="*/ 1424 h 6862792"/>
              <a:gd name="connsiteX2" fmla="*/ 3388908 w 8993100"/>
              <a:gd name="connsiteY2" fmla="*/ 6857907 h 6862792"/>
              <a:gd name="connsiteX3" fmla="*/ 5505 w 8993100"/>
              <a:gd name="connsiteY3" fmla="*/ 6862792 h 6862792"/>
              <a:gd name="connsiteX4" fmla="*/ 0 w 8993100"/>
              <a:gd name="connsiteY4" fmla="*/ 5124508 h 6862792"/>
              <a:gd name="connsiteX5" fmla="*/ 2083733 w 8993100"/>
              <a:gd name="connsiteY5" fmla="*/ 0 h 6862792"/>
              <a:gd name="connsiteX0" fmla="*/ 2083733 w 8993100"/>
              <a:gd name="connsiteY0" fmla="*/ 0 h 6867554"/>
              <a:gd name="connsiteX1" fmla="*/ 8993100 w 8993100"/>
              <a:gd name="connsiteY1" fmla="*/ 6186 h 6867554"/>
              <a:gd name="connsiteX2" fmla="*/ 3388908 w 8993100"/>
              <a:gd name="connsiteY2" fmla="*/ 6862669 h 6867554"/>
              <a:gd name="connsiteX3" fmla="*/ 5505 w 8993100"/>
              <a:gd name="connsiteY3" fmla="*/ 6867554 h 6867554"/>
              <a:gd name="connsiteX4" fmla="*/ 0 w 8993100"/>
              <a:gd name="connsiteY4" fmla="*/ 5129270 h 6867554"/>
              <a:gd name="connsiteX5" fmla="*/ 2083733 w 8993100"/>
              <a:gd name="connsiteY5" fmla="*/ 0 h 6867554"/>
              <a:gd name="connsiteX0" fmla="*/ 2083733 w 8791676"/>
              <a:gd name="connsiteY0" fmla="*/ 0 h 6867554"/>
              <a:gd name="connsiteX1" fmla="*/ 8791676 w 8791676"/>
              <a:gd name="connsiteY1" fmla="*/ 22172 h 6867554"/>
              <a:gd name="connsiteX2" fmla="*/ 3388908 w 8791676"/>
              <a:gd name="connsiteY2" fmla="*/ 6862669 h 6867554"/>
              <a:gd name="connsiteX3" fmla="*/ 5505 w 8791676"/>
              <a:gd name="connsiteY3" fmla="*/ 6867554 h 6867554"/>
              <a:gd name="connsiteX4" fmla="*/ 0 w 8791676"/>
              <a:gd name="connsiteY4" fmla="*/ 5129270 h 6867554"/>
              <a:gd name="connsiteX5" fmla="*/ 2083733 w 8791676"/>
              <a:gd name="connsiteY5" fmla="*/ 0 h 6867554"/>
              <a:gd name="connsiteX0" fmla="*/ 2083733 w 8948339"/>
              <a:gd name="connsiteY0" fmla="*/ 208 h 6867762"/>
              <a:gd name="connsiteX1" fmla="*/ 8948339 w 8948339"/>
              <a:gd name="connsiteY1" fmla="*/ 0 h 6867762"/>
              <a:gd name="connsiteX2" fmla="*/ 3388908 w 8948339"/>
              <a:gd name="connsiteY2" fmla="*/ 6862877 h 6867762"/>
              <a:gd name="connsiteX3" fmla="*/ 5505 w 8948339"/>
              <a:gd name="connsiteY3" fmla="*/ 6867762 h 6867762"/>
              <a:gd name="connsiteX4" fmla="*/ 0 w 8948339"/>
              <a:gd name="connsiteY4" fmla="*/ 5129478 h 6867762"/>
              <a:gd name="connsiteX5" fmla="*/ 2083733 w 8948339"/>
              <a:gd name="connsiteY5" fmla="*/ 208 h 68677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948339" h="6867762">
                <a:moveTo>
                  <a:pt x="2083733" y="208"/>
                </a:moveTo>
                <a:lnTo>
                  <a:pt x="8948339" y="0"/>
                </a:lnTo>
                <a:lnTo>
                  <a:pt x="3388908" y="6862877"/>
                </a:lnTo>
                <a:lnTo>
                  <a:pt x="5505" y="6867762"/>
                </a:lnTo>
                <a:cubicBezTo>
                  <a:pt x="5505" y="6488575"/>
                  <a:pt x="0" y="5508665"/>
                  <a:pt x="0" y="5129478"/>
                </a:cubicBezTo>
                <a:lnTo>
                  <a:pt x="2083733" y="208"/>
                </a:lnTo>
                <a:close/>
              </a:path>
            </a:pathLst>
          </a:custGeom>
          <a:solidFill>
            <a:srgbClr val="55575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1866737" y="3588760"/>
            <a:ext cx="6604000" cy="0"/>
          </a:xfrm>
          <a:prstGeom prst="line">
            <a:avLst/>
          </a:prstGeom>
          <a:ln w="12700" cmpd="sng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19"/>
          <p:cNvSpPr>
            <a:spLocks noGrp="1"/>
          </p:cNvSpPr>
          <p:nvPr>
            <p:ph type="body" sz="quarter" idx="18" hasCustomPrompt="1"/>
          </p:nvPr>
        </p:nvSpPr>
        <p:spPr>
          <a:xfrm>
            <a:off x="1866739" y="3692359"/>
            <a:ext cx="5576799" cy="343400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FontTx/>
              <a:buNone/>
              <a:defRPr sz="1600" cap="all">
                <a:solidFill>
                  <a:schemeClr val="accent2"/>
                </a:solidFill>
                <a:latin typeface="+mn-lt"/>
              </a:defRPr>
            </a:lvl1pPr>
          </a:lstStyle>
          <a:p>
            <a:r>
              <a:rPr lang="en-US" sz="1600" dirty="0"/>
              <a:t>Click to edit SUB TITLE</a:t>
            </a:r>
          </a:p>
        </p:txBody>
      </p:sp>
      <p:sp>
        <p:nvSpPr>
          <p:cNvPr id="13" name="Text Placeholder 23"/>
          <p:cNvSpPr>
            <a:spLocks noGrp="1"/>
          </p:cNvSpPr>
          <p:nvPr>
            <p:ph type="body" sz="quarter" idx="19"/>
          </p:nvPr>
        </p:nvSpPr>
        <p:spPr>
          <a:xfrm>
            <a:off x="1866740" y="3059449"/>
            <a:ext cx="6154313" cy="452437"/>
          </a:xfrm>
          <a:prstGeom prst="rect">
            <a:avLst/>
          </a:prstGeom>
        </p:spPr>
        <p:txBody>
          <a:bodyPr vert="horz" lIns="0" rIns="0" bIns="0" anchor="b"/>
          <a:lstStyle>
            <a:lvl1pPr marL="0" indent="0">
              <a:buFontTx/>
              <a:buNone/>
              <a:defRPr sz="2500" cap="all" baseline="0">
                <a:solidFill>
                  <a:schemeClr val="bg1"/>
                </a:solidFill>
                <a:latin typeface="+mj-lt"/>
              </a:defRPr>
            </a:lvl1pPr>
            <a:lvl2pPr marL="457178" indent="0">
              <a:buFontTx/>
              <a:buNone/>
              <a:defRPr sz="2400" cap="all" baseline="0">
                <a:solidFill>
                  <a:schemeClr val="bg1"/>
                </a:solidFill>
              </a:defRPr>
            </a:lvl2pPr>
            <a:lvl3pPr marL="914354" indent="0">
              <a:buFontTx/>
              <a:buNone/>
              <a:defRPr sz="2400" cap="all" baseline="0">
                <a:solidFill>
                  <a:schemeClr val="bg1"/>
                </a:solidFill>
              </a:defRPr>
            </a:lvl3pPr>
            <a:lvl4pPr marL="1371532" indent="0">
              <a:buFontTx/>
              <a:buNone/>
              <a:defRPr sz="2400" cap="all" baseline="0">
                <a:solidFill>
                  <a:schemeClr val="bg1"/>
                </a:solidFill>
              </a:defRPr>
            </a:lvl4pPr>
            <a:lvl5pPr marL="1828709" indent="0">
              <a:buFontTx/>
              <a:buNone/>
              <a:defRPr sz="2400" cap="all" baseline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>
            <a:duotone>
              <a:prstClr val="black"/>
              <a:schemeClr val="accent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6960" y="-3148"/>
            <a:ext cx="2815677" cy="5124404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64139" y="5666597"/>
            <a:ext cx="3174831" cy="874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92002307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Gray Bar_Content+Table/Chart/Fig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7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/>
          <p:cNvSpPr/>
          <p:nvPr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Palatino Linotype" pitchFamily="18" charset="0"/>
            </a:endParaRPr>
          </a:p>
        </p:txBody>
      </p:sp>
      <p:cxnSp>
        <p:nvCxnSpPr>
          <p:cNvPr id="5" name="Straight Connector 4"/>
          <p:cNvCxnSpPr/>
          <p:nvPr/>
        </p:nvCxnSpPr>
        <p:spPr>
          <a:xfrm>
            <a:off x="304802" y="6250077"/>
            <a:ext cx="11592985" cy="0"/>
          </a:xfrm>
          <a:prstGeom prst="line">
            <a:avLst/>
          </a:prstGeom>
          <a:ln w="9525">
            <a:solidFill>
              <a:srgbClr val="555759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Text Placeholder 18"/>
          <p:cNvSpPr txBox="1">
            <a:spLocks/>
          </p:cNvSpPr>
          <p:nvPr userDrawn="1"/>
        </p:nvSpPr>
        <p:spPr>
          <a:xfrm>
            <a:off x="85344" y="6365442"/>
            <a:ext cx="585216" cy="231169"/>
          </a:xfrm>
          <a:prstGeom prst="rect">
            <a:avLst/>
          </a:prstGeom>
        </p:spPr>
        <p:txBody>
          <a:bodyPr vert="horz"/>
          <a:lstStyle>
            <a:lvl1pPr marL="0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 baseline="0">
                <a:solidFill>
                  <a:srgbClr val="898C8F"/>
                </a:solidFill>
                <a:latin typeface="+mj-lt"/>
                <a:ea typeface="+mn-ea"/>
                <a:cs typeface="+mn-cs"/>
              </a:defRPr>
            </a:lvl1pPr>
            <a:lvl2pPr marL="457178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2pPr>
            <a:lvl3pPr marL="914354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3pPr>
            <a:lvl4pPr marL="1371532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4pPr>
            <a:lvl5pPr marL="1828709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5pPr>
            <a:lvl6pPr marL="21748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6pPr>
            <a:lvl7pPr marL="26320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7pPr>
            <a:lvl8pPr marL="30892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8pPr>
            <a:lvl9pPr marL="35464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l"/>
            <a:fld id="{C0D4A90D-707C-4CFA-8F87-17CF45DE2B45}" type="slidenum">
              <a:rPr lang="en-US" sz="900" smtClean="0">
                <a:solidFill>
                  <a:srgbClr val="95D600"/>
                </a:solidFill>
              </a:rPr>
              <a:pPr algn="l"/>
              <a:t>‹#›</a:t>
            </a:fld>
            <a:endParaRPr lang="en-US" sz="900" dirty="0"/>
          </a:p>
        </p:txBody>
      </p:sp>
      <p:cxnSp>
        <p:nvCxnSpPr>
          <p:cNvPr id="7" name="Straight Connector 6"/>
          <p:cNvCxnSpPr/>
          <p:nvPr/>
        </p:nvCxnSpPr>
        <p:spPr bwMode="auto">
          <a:xfrm flipH="1">
            <a:off x="0" y="6302465"/>
            <a:ext cx="12192000" cy="0"/>
          </a:xfrm>
          <a:prstGeom prst="line">
            <a:avLst/>
          </a:prstGeom>
          <a:solidFill>
            <a:schemeClr val="accent1"/>
          </a:solidFill>
          <a:ln w="19050" cap="flat" cmpd="dbl" algn="ctr">
            <a:noFill/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0" name="Rectangle 9"/>
          <p:cNvSpPr/>
          <p:nvPr/>
        </p:nvSpPr>
        <p:spPr bwMode="auto">
          <a:xfrm>
            <a:off x="0" y="0"/>
            <a:ext cx="12192000" cy="1074396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Palatino Linotype" pitchFamily="18" charset="0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287453" y="1"/>
            <a:ext cx="11623035" cy="1011420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Rectangle 11"/>
          <p:cNvSpPr/>
          <p:nvPr/>
        </p:nvSpPr>
        <p:spPr bwMode="auto">
          <a:xfrm>
            <a:off x="0" y="1074396"/>
            <a:ext cx="12192000" cy="151354"/>
          </a:xfrm>
          <a:prstGeom prst="rect">
            <a:avLst/>
          </a:prstGeom>
          <a:solidFill>
            <a:schemeClr val="accent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Palatino Linotype" pitchFamily="18" charset="0"/>
            </a:endParaRPr>
          </a:p>
        </p:txBody>
      </p:sp>
      <p:sp>
        <p:nvSpPr>
          <p:cNvPr id="13" name="Rectangle 14"/>
          <p:cNvSpPr>
            <a:spLocks noGrp="1" noChangeArrowheads="1"/>
          </p:cNvSpPr>
          <p:nvPr>
            <p:ph idx="1"/>
          </p:nvPr>
        </p:nvSpPr>
        <p:spPr bwMode="auto">
          <a:xfrm>
            <a:off x="287453" y="1403684"/>
            <a:ext cx="11623035" cy="113385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10" hasCustomPrompt="1"/>
          </p:nvPr>
        </p:nvSpPr>
        <p:spPr>
          <a:xfrm>
            <a:off x="2075104" y="2627336"/>
            <a:ext cx="8056033" cy="431800"/>
          </a:xfrm>
        </p:spPr>
        <p:txBody>
          <a:bodyPr anchor="ctr"/>
          <a:lstStyle>
            <a:lvl1pPr marL="0" indent="0" algn="ctr">
              <a:buNone/>
              <a:defRPr sz="1600" b="1" baseline="0"/>
            </a:lvl1pPr>
          </a:lstStyle>
          <a:p>
            <a:pPr lvl="0"/>
            <a:r>
              <a:rPr lang="en-US" b="1" dirty="0"/>
              <a:t>Insert Table/Chart/Figure Title</a:t>
            </a:r>
            <a:endParaRPr lang="en-US" dirty="0"/>
          </a:p>
        </p:txBody>
      </p:sp>
      <p:sp>
        <p:nvSpPr>
          <p:cNvPr id="15" name="Content Placeholder 14"/>
          <p:cNvSpPr>
            <a:spLocks noGrp="1"/>
          </p:cNvSpPr>
          <p:nvPr>
            <p:ph sz="quarter" idx="11"/>
          </p:nvPr>
        </p:nvSpPr>
        <p:spPr>
          <a:xfrm>
            <a:off x="2854257" y="3148933"/>
            <a:ext cx="6470185" cy="2668917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ext Placeholder 16"/>
          <p:cNvSpPr>
            <a:spLocks noGrp="1"/>
          </p:cNvSpPr>
          <p:nvPr>
            <p:ph type="body" sz="quarter" idx="12" hasCustomPrompt="1"/>
          </p:nvPr>
        </p:nvSpPr>
        <p:spPr>
          <a:xfrm>
            <a:off x="2998603" y="5870237"/>
            <a:ext cx="2400300" cy="219075"/>
          </a:xfrm>
        </p:spPr>
        <p:txBody>
          <a:bodyPr anchor="ctr"/>
          <a:lstStyle>
            <a:lvl1pPr marL="0" indent="0">
              <a:buNone/>
              <a:defRPr sz="800" i="1" baseline="0">
                <a:solidFill>
                  <a:schemeClr val="accent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US" sz="800" i="1" dirty="0"/>
              <a:t>Insert source</a:t>
            </a:r>
            <a:endParaRPr lang="en-US" dirty="0"/>
          </a:p>
        </p:txBody>
      </p:sp>
      <p:sp>
        <p:nvSpPr>
          <p:cNvPr id="17" name="Text Placeholder 18"/>
          <p:cNvSpPr txBox="1">
            <a:spLocks/>
          </p:cNvSpPr>
          <p:nvPr userDrawn="1"/>
        </p:nvSpPr>
        <p:spPr>
          <a:xfrm>
            <a:off x="412682" y="6370117"/>
            <a:ext cx="7770501" cy="205345"/>
          </a:xfrm>
          <a:prstGeom prst="rect">
            <a:avLst/>
          </a:prstGeom>
        </p:spPr>
        <p:txBody>
          <a:bodyPr vert="horz"/>
          <a:lstStyle>
            <a:lvl1pPr marL="0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 baseline="0">
                <a:solidFill>
                  <a:srgbClr val="898C8F"/>
                </a:solidFill>
                <a:latin typeface="+mj-lt"/>
                <a:ea typeface="+mn-ea"/>
                <a:cs typeface="+mn-cs"/>
              </a:defRPr>
            </a:lvl1pPr>
            <a:lvl2pPr marL="457178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2pPr>
            <a:lvl3pPr marL="914354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3pPr>
            <a:lvl4pPr marL="1371532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4pPr>
            <a:lvl5pPr marL="1828709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5pPr>
            <a:lvl6pPr marL="21748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6pPr>
            <a:lvl7pPr marL="26320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7pPr>
            <a:lvl8pPr marL="30892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8pPr>
            <a:lvl9pPr marL="35464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 sz="900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/ </a:t>
            </a:r>
            <a:r>
              <a:rPr lang="en-US" sz="900" kern="1200" cap="all" normalizeH="0" baseline="0" dirty="0">
                <a:solidFill>
                  <a:schemeClr val="accent1">
                    <a:lumMod val="60000"/>
                    <a:lumOff val="40000"/>
                  </a:schemeClr>
                </a:solidFill>
                <a:latin typeface="+mj-lt"/>
                <a:ea typeface="+mn-ea"/>
                <a:cs typeface="+mn-cs"/>
              </a:rPr>
              <a:t>©ECOFYS, A Navigant – A </a:t>
            </a:r>
            <a:r>
              <a:rPr lang="en-US" sz="900" kern="1200" cap="all" normalizeH="0" baseline="0" dirty="0" err="1">
                <a:solidFill>
                  <a:schemeClr val="accent1">
                    <a:lumMod val="60000"/>
                    <a:lumOff val="40000"/>
                  </a:schemeClr>
                </a:solidFill>
                <a:latin typeface="+mj-lt"/>
                <a:ea typeface="+mn-ea"/>
                <a:cs typeface="+mn-cs"/>
              </a:rPr>
              <a:t>Guidehouse</a:t>
            </a:r>
            <a:r>
              <a:rPr lang="en-US" sz="900" kern="1200" cap="all" normalizeH="0" baseline="0" dirty="0">
                <a:solidFill>
                  <a:schemeClr val="accent1">
                    <a:lumMod val="60000"/>
                    <a:lumOff val="40000"/>
                  </a:schemeClr>
                </a:solidFill>
                <a:latin typeface="+mj-lt"/>
                <a:ea typeface="+mn-ea"/>
                <a:cs typeface="+mn-cs"/>
              </a:rPr>
              <a:t> Company Company</a:t>
            </a:r>
            <a:r>
              <a:rPr lang="en-US" sz="900" baseline="0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. All rights Reserved</a:t>
            </a:r>
            <a:endParaRPr lang="en-US" sz="900" dirty="0">
              <a:solidFill>
                <a:schemeClr val="accent1">
                  <a:lumMod val="60000"/>
                  <a:lumOff val="40000"/>
                </a:schemeClr>
              </a:solidFill>
            </a:endParaRPr>
          </a:p>
        </p:txBody>
      </p:sp>
      <p:pic>
        <p:nvPicPr>
          <p:cNvPr id="18" name="Picture 13" descr="Mission_Statement_RGB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71520" y="6418194"/>
            <a:ext cx="2726267" cy="123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645088117"/>
      </p:ext>
    </p:extLst>
  </p:cSld>
  <p:clrMapOvr>
    <a:masterClrMapping/>
  </p:clrMapOvr>
  <p:hf sldNum="0" hdr="0" dt="0"/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Only_Gray 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/>
          <p:cNvSpPr/>
          <p:nvPr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Palatino Linotype" pitchFamily="18" charset="0"/>
            </a:endParaRPr>
          </a:p>
        </p:txBody>
      </p:sp>
      <p:sp>
        <p:nvSpPr>
          <p:cNvPr id="4" name="Text Placeholder 18"/>
          <p:cNvSpPr txBox="1">
            <a:spLocks/>
          </p:cNvSpPr>
          <p:nvPr/>
        </p:nvSpPr>
        <p:spPr>
          <a:xfrm>
            <a:off x="412682" y="6370117"/>
            <a:ext cx="7770501" cy="205345"/>
          </a:xfrm>
          <a:prstGeom prst="rect">
            <a:avLst/>
          </a:prstGeom>
        </p:spPr>
        <p:txBody>
          <a:bodyPr vert="horz"/>
          <a:lstStyle>
            <a:lvl1pPr marL="0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 baseline="0">
                <a:solidFill>
                  <a:srgbClr val="898C8F"/>
                </a:solidFill>
                <a:latin typeface="+mj-lt"/>
                <a:ea typeface="+mn-ea"/>
                <a:cs typeface="+mn-cs"/>
              </a:defRPr>
            </a:lvl1pPr>
            <a:lvl2pPr marL="457178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2pPr>
            <a:lvl3pPr marL="914354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3pPr>
            <a:lvl4pPr marL="1371532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4pPr>
            <a:lvl5pPr marL="1828709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5pPr>
            <a:lvl6pPr marL="21748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6pPr>
            <a:lvl7pPr marL="26320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7pPr>
            <a:lvl8pPr marL="30892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8pPr>
            <a:lvl9pPr marL="35464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 sz="900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/ </a:t>
            </a:r>
            <a:r>
              <a:rPr lang="en-US" sz="900" kern="1200" cap="all" normalizeH="0" baseline="0" dirty="0">
                <a:solidFill>
                  <a:schemeClr val="accent1">
                    <a:lumMod val="60000"/>
                    <a:lumOff val="40000"/>
                  </a:schemeClr>
                </a:solidFill>
                <a:latin typeface="+mj-lt"/>
                <a:ea typeface="+mn-ea"/>
                <a:cs typeface="+mn-cs"/>
              </a:rPr>
              <a:t>©2016 </a:t>
            </a:r>
            <a:r>
              <a:rPr lang="en-US" sz="900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Navigant – A </a:t>
            </a:r>
            <a:r>
              <a:rPr lang="en-US" sz="900" dirty="0" err="1">
                <a:solidFill>
                  <a:schemeClr val="accent1">
                    <a:lumMod val="60000"/>
                    <a:lumOff val="40000"/>
                  </a:schemeClr>
                </a:solidFill>
              </a:rPr>
              <a:t>Guidehouse</a:t>
            </a:r>
            <a:r>
              <a:rPr lang="en-US" sz="900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 Company Consulting,</a:t>
            </a:r>
            <a:r>
              <a:rPr lang="en-US" sz="900" baseline="0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 Inc. All rights Reserved</a:t>
            </a:r>
            <a:endParaRPr lang="en-US" sz="900" dirty="0">
              <a:solidFill>
                <a:schemeClr val="accent1">
                  <a:lumMod val="60000"/>
                  <a:lumOff val="40000"/>
                </a:schemeClr>
              </a:solidFill>
            </a:endParaRPr>
          </a:p>
        </p:txBody>
      </p:sp>
      <p:cxnSp>
        <p:nvCxnSpPr>
          <p:cNvPr id="5" name="Straight Connector 4"/>
          <p:cNvCxnSpPr/>
          <p:nvPr/>
        </p:nvCxnSpPr>
        <p:spPr>
          <a:xfrm>
            <a:off x="304802" y="6250077"/>
            <a:ext cx="11592985" cy="0"/>
          </a:xfrm>
          <a:prstGeom prst="line">
            <a:avLst/>
          </a:prstGeom>
          <a:ln w="9525">
            <a:solidFill>
              <a:srgbClr val="555759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Text Placeholder 18"/>
          <p:cNvSpPr txBox="1">
            <a:spLocks/>
          </p:cNvSpPr>
          <p:nvPr/>
        </p:nvSpPr>
        <p:spPr>
          <a:xfrm>
            <a:off x="85344" y="6365442"/>
            <a:ext cx="585216" cy="231169"/>
          </a:xfrm>
          <a:prstGeom prst="rect">
            <a:avLst/>
          </a:prstGeom>
        </p:spPr>
        <p:txBody>
          <a:bodyPr vert="horz"/>
          <a:lstStyle>
            <a:lvl1pPr marL="0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 baseline="0">
                <a:solidFill>
                  <a:srgbClr val="898C8F"/>
                </a:solidFill>
                <a:latin typeface="+mj-lt"/>
                <a:ea typeface="+mn-ea"/>
                <a:cs typeface="+mn-cs"/>
              </a:defRPr>
            </a:lvl1pPr>
            <a:lvl2pPr marL="457178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2pPr>
            <a:lvl3pPr marL="914354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3pPr>
            <a:lvl4pPr marL="1371532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4pPr>
            <a:lvl5pPr marL="1828709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5pPr>
            <a:lvl6pPr marL="21748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6pPr>
            <a:lvl7pPr marL="26320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7pPr>
            <a:lvl8pPr marL="30892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8pPr>
            <a:lvl9pPr marL="35464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l"/>
            <a:fld id="{C0D4A90D-707C-4CFA-8F87-17CF45DE2B45}" type="slidenum">
              <a:rPr lang="en-US" sz="900" smtClean="0">
                <a:solidFill>
                  <a:srgbClr val="95D600"/>
                </a:solidFill>
              </a:rPr>
              <a:pPr algn="l"/>
              <a:t>‹#›</a:t>
            </a:fld>
            <a:endParaRPr lang="en-US" sz="900" dirty="0"/>
          </a:p>
        </p:txBody>
      </p:sp>
      <p:cxnSp>
        <p:nvCxnSpPr>
          <p:cNvPr id="7" name="Straight Connector 6"/>
          <p:cNvCxnSpPr/>
          <p:nvPr/>
        </p:nvCxnSpPr>
        <p:spPr bwMode="auto">
          <a:xfrm flipH="1">
            <a:off x="0" y="6302465"/>
            <a:ext cx="12192000" cy="0"/>
          </a:xfrm>
          <a:prstGeom prst="line">
            <a:avLst/>
          </a:prstGeom>
          <a:solidFill>
            <a:schemeClr val="accent1"/>
          </a:solidFill>
          <a:ln w="19050" cap="flat" cmpd="dbl" algn="ctr">
            <a:noFill/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8" name="Picture 7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07280" y="6400190"/>
            <a:ext cx="1303209" cy="168518"/>
          </a:xfrm>
          <a:prstGeom prst="rect">
            <a:avLst/>
          </a:prstGeom>
        </p:spPr>
      </p:pic>
      <p:sp>
        <p:nvSpPr>
          <p:cNvPr id="10" name="Rectangle 9"/>
          <p:cNvSpPr/>
          <p:nvPr/>
        </p:nvSpPr>
        <p:spPr bwMode="auto">
          <a:xfrm>
            <a:off x="0" y="0"/>
            <a:ext cx="12192000" cy="1074396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Palatino Linotype" pitchFamily="18" charset="0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287453" y="1"/>
            <a:ext cx="11623035" cy="1011420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Rectangle 11"/>
          <p:cNvSpPr/>
          <p:nvPr/>
        </p:nvSpPr>
        <p:spPr bwMode="auto">
          <a:xfrm>
            <a:off x="0" y="1074396"/>
            <a:ext cx="12192000" cy="151354"/>
          </a:xfrm>
          <a:prstGeom prst="rect">
            <a:avLst/>
          </a:prstGeom>
          <a:solidFill>
            <a:schemeClr val="accent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Palatino Linotype" pitchFamily="18" charset="0"/>
            </a:endParaRPr>
          </a:p>
        </p:txBody>
      </p:sp>
      <p:sp>
        <p:nvSpPr>
          <p:cNvPr id="13" name="Rectangle 12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Palatino Linotype" pitchFamily="18" charset="0"/>
            </a:endParaRPr>
          </a:p>
        </p:txBody>
      </p:sp>
      <p:cxnSp>
        <p:nvCxnSpPr>
          <p:cNvPr id="15" name="Straight Connector 14"/>
          <p:cNvCxnSpPr/>
          <p:nvPr userDrawn="1"/>
        </p:nvCxnSpPr>
        <p:spPr>
          <a:xfrm>
            <a:off x="304802" y="6250077"/>
            <a:ext cx="11592985" cy="0"/>
          </a:xfrm>
          <a:prstGeom prst="line">
            <a:avLst/>
          </a:prstGeom>
          <a:ln w="9525">
            <a:solidFill>
              <a:srgbClr val="555759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6" name="Text Placeholder 18"/>
          <p:cNvSpPr txBox="1">
            <a:spLocks/>
          </p:cNvSpPr>
          <p:nvPr userDrawn="1"/>
        </p:nvSpPr>
        <p:spPr>
          <a:xfrm>
            <a:off x="182020" y="6365442"/>
            <a:ext cx="478315" cy="231169"/>
          </a:xfrm>
          <a:prstGeom prst="rect">
            <a:avLst/>
          </a:prstGeom>
        </p:spPr>
        <p:txBody>
          <a:bodyPr vert="horz"/>
          <a:lstStyle>
            <a:lvl1pPr marL="0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 baseline="0">
                <a:solidFill>
                  <a:srgbClr val="898C8F"/>
                </a:solidFill>
                <a:latin typeface="+mj-lt"/>
                <a:ea typeface="+mn-ea"/>
                <a:cs typeface="+mn-cs"/>
              </a:defRPr>
            </a:lvl1pPr>
            <a:lvl2pPr marL="457178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2pPr>
            <a:lvl3pPr marL="914354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3pPr>
            <a:lvl4pPr marL="1371532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4pPr>
            <a:lvl5pPr marL="1828709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5pPr>
            <a:lvl6pPr marL="21748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6pPr>
            <a:lvl7pPr marL="26320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7pPr>
            <a:lvl8pPr marL="30892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8pPr>
            <a:lvl9pPr marL="35464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l"/>
            <a:fld id="{C0D4A90D-707C-4CFA-8F87-17CF45DE2B45}" type="slidenum">
              <a:rPr lang="en-US" sz="900" smtClean="0">
                <a:solidFill>
                  <a:srgbClr val="95D600"/>
                </a:solidFill>
              </a:rPr>
              <a:pPr algn="l"/>
              <a:t>‹#›</a:t>
            </a:fld>
            <a:endParaRPr lang="en-US" sz="900" dirty="0"/>
          </a:p>
        </p:txBody>
      </p:sp>
      <p:cxnSp>
        <p:nvCxnSpPr>
          <p:cNvPr id="17" name="Straight Connector 16"/>
          <p:cNvCxnSpPr/>
          <p:nvPr userDrawn="1"/>
        </p:nvCxnSpPr>
        <p:spPr bwMode="auto">
          <a:xfrm flipH="1">
            <a:off x="0" y="6302465"/>
            <a:ext cx="12192000" cy="0"/>
          </a:xfrm>
          <a:prstGeom prst="line">
            <a:avLst/>
          </a:prstGeom>
          <a:solidFill>
            <a:schemeClr val="accent1"/>
          </a:solidFill>
          <a:ln w="19050" cap="flat" cmpd="dbl" algn="ctr">
            <a:noFill/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9" name="Rectangle 18"/>
          <p:cNvSpPr/>
          <p:nvPr userDrawn="1"/>
        </p:nvSpPr>
        <p:spPr bwMode="auto">
          <a:xfrm>
            <a:off x="0" y="0"/>
            <a:ext cx="12192000" cy="1074396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Palatino Linotype" pitchFamily="18" charset="0"/>
            </a:endParaRPr>
          </a:p>
        </p:txBody>
      </p:sp>
      <p:sp>
        <p:nvSpPr>
          <p:cNvPr id="20" name="Rectangle 19"/>
          <p:cNvSpPr/>
          <p:nvPr userDrawn="1"/>
        </p:nvSpPr>
        <p:spPr bwMode="auto">
          <a:xfrm>
            <a:off x="0" y="1074396"/>
            <a:ext cx="12192000" cy="151354"/>
          </a:xfrm>
          <a:prstGeom prst="rect">
            <a:avLst/>
          </a:prstGeom>
          <a:solidFill>
            <a:schemeClr val="accent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Palatino Linotype" pitchFamily="18" charset="0"/>
            </a:endParaRPr>
          </a:p>
        </p:txBody>
      </p:sp>
      <p:sp>
        <p:nvSpPr>
          <p:cNvPr id="21" name="Text Placeholder 18"/>
          <p:cNvSpPr txBox="1">
            <a:spLocks/>
          </p:cNvSpPr>
          <p:nvPr userDrawn="1"/>
        </p:nvSpPr>
        <p:spPr>
          <a:xfrm>
            <a:off x="412682" y="6370117"/>
            <a:ext cx="7770501" cy="205345"/>
          </a:xfrm>
          <a:prstGeom prst="rect">
            <a:avLst/>
          </a:prstGeom>
        </p:spPr>
        <p:txBody>
          <a:bodyPr vert="horz"/>
          <a:lstStyle>
            <a:lvl1pPr marL="0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 baseline="0">
                <a:solidFill>
                  <a:srgbClr val="898C8F"/>
                </a:solidFill>
                <a:latin typeface="+mj-lt"/>
                <a:ea typeface="+mn-ea"/>
                <a:cs typeface="+mn-cs"/>
              </a:defRPr>
            </a:lvl1pPr>
            <a:lvl2pPr marL="457178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2pPr>
            <a:lvl3pPr marL="914354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3pPr>
            <a:lvl4pPr marL="1371532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4pPr>
            <a:lvl5pPr marL="1828709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5pPr>
            <a:lvl6pPr marL="21748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6pPr>
            <a:lvl7pPr marL="26320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7pPr>
            <a:lvl8pPr marL="30892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8pPr>
            <a:lvl9pPr marL="35464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 sz="900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/ </a:t>
            </a:r>
            <a:r>
              <a:rPr lang="en-US" sz="900" kern="1200" cap="all" normalizeH="0" baseline="0" dirty="0">
                <a:solidFill>
                  <a:schemeClr val="accent1">
                    <a:lumMod val="60000"/>
                    <a:lumOff val="40000"/>
                  </a:schemeClr>
                </a:solidFill>
                <a:latin typeface="+mj-lt"/>
                <a:ea typeface="+mn-ea"/>
                <a:cs typeface="+mn-cs"/>
              </a:rPr>
              <a:t>©ECOFYS, A Navigant – A </a:t>
            </a:r>
            <a:r>
              <a:rPr lang="en-US" sz="900" kern="1200" cap="all" normalizeH="0" baseline="0" dirty="0" err="1">
                <a:solidFill>
                  <a:schemeClr val="accent1">
                    <a:lumMod val="60000"/>
                    <a:lumOff val="40000"/>
                  </a:schemeClr>
                </a:solidFill>
                <a:latin typeface="+mj-lt"/>
                <a:ea typeface="+mn-ea"/>
                <a:cs typeface="+mn-cs"/>
              </a:rPr>
              <a:t>Guidehouse</a:t>
            </a:r>
            <a:r>
              <a:rPr lang="en-US" sz="900" kern="1200" cap="all" normalizeH="0" baseline="0" dirty="0">
                <a:solidFill>
                  <a:schemeClr val="accent1">
                    <a:lumMod val="60000"/>
                    <a:lumOff val="40000"/>
                  </a:schemeClr>
                </a:solidFill>
                <a:latin typeface="+mj-lt"/>
                <a:ea typeface="+mn-ea"/>
                <a:cs typeface="+mn-cs"/>
              </a:rPr>
              <a:t> Company Company</a:t>
            </a:r>
            <a:r>
              <a:rPr lang="en-US" sz="900" baseline="0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. All rights Reserved</a:t>
            </a:r>
            <a:endParaRPr lang="en-US" sz="900" dirty="0">
              <a:solidFill>
                <a:schemeClr val="accent1">
                  <a:lumMod val="60000"/>
                  <a:lumOff val="40000"/>
                </a:schemeClr>
              </a:solidFill>
            </a:endParaRPr>
          </a:p>
        </p:txBody>
      </p:sp>
      <p:pic>
        <p:nvPicPr>
          <p:cNvPr id="22" name="Picture 13" descr="Mission_Statement_RGB"/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71520" y="6418194"/>
            <a:ext cx="2726267" cy="123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095646451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gal_Title Slide -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84731"/>
            <a:ext cx="12201685" cy="685430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9" name="Freeform 8"/>
          <p:cNvSpPr/>
          <p:nvPr userDrawn="1"/>
        </p:nvSpPr>
        <p:spPr>
          <a:xfrm>
            <a:off x="-11936" y="-3149"/>
            <a:ext cx="11931119" cy="6942187"/>
          </a:xfrm>
          <a:custGeom>
            <a:avLst/>
            <a:gdLst>
              <a:gd name="connsiteX0" fmla="*/ 1643975 w 8501975"/>
              <a:gd name="connsiteY0" fmla="*/ 0 h 5175115"/>
              <a:gd name="connsiteX1" fmla="*/ 8501975 w 8501975"/>
              <a:gd name="connsiteY1" fmla="*/ 19455 h 5175115"/>
              <a:gd name="connsiteX2" fmla="*/ 4289898 w 8501975"/>
              <a:gd name="connsiteY2" fmla="*/ 5175115 h 5175115"/>
              <a:gd name="connsiteX3" fmla="*/ 0 w 8501975"/>
              <a:gd name="connsiteY3" fmla="*/ 5175115 h 5175115"/>
              <a:gd name="connsiteX4" fmla="*/ 0 w 8501975"/>
              <a:gd name="connsiteY4" fmla="*/ 4027251 h 5175115"/>
              <a:gd name="connsiteX5" fmla="*/ 1643975 w 8501975"/>
              <a:gd name="connsiteY5" fmla="*/ 0 h 5175115"/>
              <a:gd name="connsiteX0" fmla="*/ 1649126 w 8507126"/>
              <a:gd name="connsiteY0" fmla="*/ 0 h 5175115"/>
              <a:gd name="connsiteX1" fmla="*/ 8507126 w 8507126"/>
              <a:gd name="connsiteY1" fmla="*/ 19455 h 5175115"/>
              <a:gd name="connsiteX2" fmla="*/ 4295049 w 8507126"/>
              <a:gd name="connsiteY2" fmla="*/ 5175115 h 5175115"/>
              <a:gd name="connsiteX3" fmla="*/ 5151 w 8507126"/>
              <a:gd name="connsiteY3" fmla="*/ 5175115 h 5175115"/>
              <a:gd name="connsiteX4" fmla="*/ 0 w 8507126"/>
              <a:gd name="connsiteY4" fmla="*/ 4037554 h 5175115"/>
              <a:gd name="connsiteX5" fmla="*/ 1649126 w 8507126"/>
              <a:gd name="connsiteY5" fmla="*/ 0 h 5175115"/>
              <a:gd name="connsiteX0" fmla="*/ 1649127 w 8507127"/>
              <a:gd name="connsiteY0" fmla="*/ 0 h 5175115"/>
              <a:gd name="connsiteX1" fmla="*/ 8507127 w 8507127"/>
              <a:gd name="connsiteY1" fmla="*/ 19455 h 5175115"/>
              <a:gd name="connsiteX2" fmla="*/ 4295050 w 8507127"/>
              <a:gd name="connsiteY2" fmla="*/ 5175115 h 5175115"/>
              <a:gd name="connsiteX3" fmla="*/ 0 w 8507127"/>
              <a:gd name="connsiteY3" fmla="*/ 5175115 h 5175115"/>
              <a:gd name="connsiteX4" fmla="*/ 1 w 8507127"/>
              <a:gd name="connsiteY4" fmla="*/ 4037554 h 5175115"/>
              <a:gd name="connsiteX5" fmla="*/ 1649127 w 8507127"/>
              <a:gd name="connsiteY5" fmla="*/ 0 h 5175115"/>
              <a:gd name="connsiteX0" fmla="*/ 1690339 w 8507127"/>
              <a:gd name="connsiteY0" fmla="*/ 34637 h 5155660"/>
              <a:gd name="connsiteX1" fmla="*/ 8507127 w 8507127"/>
              <a:gd name="connsiteY1" fmla="*/ 0 h 5155660"/>
              <a:gd name="connsiteX2" fmla="*/ 4295050 w 8507127"/>
              <a:gd name="connsiteY2" fmla="*/ 5155660 h 5155660"/>
              <a:gd name="connsiteX3" fmla="*/ 0 w 8507127"/>
              <a:gd name="connsiteY3" fmla="*/ 5155660 h 5155660"/>
              <a:gd name="connsiteX4" fmla="*/ 1 w 8507127"/>
              <a:gd name="connsiteY4" fmla="*/ 4018099 h 5155660"/>
              <a:gd name="connsiteX5" fmla="*/ 1690339 w 8507127"/>
              <a:gd name="connsiteY5" fmla="*/ 34637 h 5155660"/>
              <a:gd name="connsiteX0" fmla="*/ 1651702 w 8507127"/>
              <a:gd name="connsiteY0" fmla="*/ 0 h 5157084"/>
              <a:gd name="connsiteX1" fmla="*/ 8507127 w 8507127"/>
              <a:gd name="connsiteY1" fmla="*/ 1424 h 5157084"/>
              <a:gd name="connsiteX2" fmla="*/ 4295050 w 8507127"/>
              <a:gd name="connsiteY2" fmla="*/ 5157084 h 5157084"/>
              <a:gd name="connsiteX3" fmla="*/ 0 w 8507127"/>
              <a:gd name="connsiteY3" fmla="*/ 5157084 h 5157084"/>
              <a:gd name="connsiteX4" fmla="*/ 1 w 8507127"/>
              <a:gd name="connsiteY4" fmla="*/ 4019523 h 5157084"/>
              <a:gd name="connsiteX5" fmla="*/ 1651702 w 8507127"/>
              <a:gd name="connsiteY5" fmla="*/ 0 h 5157084"/>
              <a:gd name="connsiteX0" fmla="*/ 1651702 w 8507127"/>
              <a:gd name="connsiteY0" fmla="*/ 0 h 5157084"/>
              <a:gd name="connsiteX1" fmla="*/ 8507127 w 8507127"/>
              <a:gd name="connsiteY1" fmla="*/ 1424 h 5157084"/>
              <a:gd name="connsiteX2" fmla="*/ 4295050 w 8507127"/>
              <a:gd name="connsiteY2" fmla="*/ 5157084 h 5157084"/>
              <a:gd name="connsiteX3" fmla="*/ 0 w 8507127"/>
              <a:gd name="connsiteY3" fmla="*/ 5157084 h 5157084"/>
              <a:gd name="connsiteX4" fmla="*/ 46365 w 8507127"/>
              <a:gd name="connsiteY4" fmla="*/ 4006644 h 5157084"/>
              <a:gd name="connsiteX5" fmla="*/ 1651702 w 8507127"/>
              <a:gd name="connsiteY5" fmla="*/ 0 h 5157084"/>
              <a:gd name="connsiteX0" fmla="*/ 1651702 w 8507127"/>
              <a:gd name="connsiteY0" fmla="*/ 0 h 5157084"/>
              <a:gd name="connsiteX1" fmla="*/ 8507127 w 8507127"/>
              <a:gd name="connsiteY1" fmla="*/ 1424 h 5157084"/>
              <a:gd name="connsiteX2" fmla="*/ 4295050 w 8507127"/>
              <a:gd name="connsiteY2" fmla="*/ 5157084 h 5157084"/>
              <a:gd name="connsiteX3" fmla="*/ 0 w 8507127"/>
              <a:gd name="connsiteY3" fmla="*/ 5157084 h 5157084"/>
              <a:gd name="connsiteX4" fmla="*/ 15455 w 8507127"/>
              <a:gd name="connsiteY4" fmla="*/ 3973159 h 5157084"/>
              <a:gd name="connsiteX5" fmla="*/ 1651702 w 8507127"/>
              <a:gd name="connsiteY5" fmla="*/ 0 h 5157084"/>
              <a:gd name="connsiteX0" fmla="*/ 1636247 w 8491672"/>
              <a:gd name="connsiteY0" fmla="*/ 0 h 5157084"/>
              <a:gd name="connsiteX1" fmla="*/ 8491672 w 8491672"/>
              <a:gd name="connsiteY1" fmla="*/ 1424 h 5157084"/>
              <a:gd name="connsiteX2" fmla="*/ 4279595 w 8491672"/>
              <a:gd name="connsiteY2" fmla="*/ 5157084 h 5157084"/>
              <a:gd name="connsiteX3" fmla="*/ 64394 w 8491672"/>
              <a:gd name="connsiteY3" fmla="*/ 5157084 h 5157084"/>
              <a:gd name="connsiteX4" fmla="*/ 0 w 8491672"/>
              <a:gd name="connsiteY4" fmla="*/ 3973159 h 5157084"/>
              <a:gd name="connsiteX5" fmla="*/ 1636247 w 8491672"/>
              <a:gd name="connsiteY5" fmla="*/ 0 h 5157084"/>
              <a:gd name="connsiteX0" fmla="*/ 1638823 w 8494248"/>
              <a:gd name="connsiteY0" fmla="*/ 0 h 5157084"/>
              <a:gd name="connsiteX1" fmla="*/ 8494248 w 8494248"/>
              <a:gd name="connsiteY1" fmla="*/ 1424 h 5157084"/>
              <a:gd name="connsiteX2" fmla="*/ 4282171 w 8494248"/>
              <a:gd name="connsiteY2" fmla="*/ 5157084 h 5157084"/>
              <a:gd name="connsiteX3" fmla="*/ 0 w 8494248"/>
              <a:gd name="connsiteY3" fmla="*/ 5157084 h 5157084"/>
              <a:gd name="connsiteX4" fmla="*/ 2576 w 8494248"/>
              <a:gd name="connsiteY4" fmla="*/ 3973159 h 5157084"/>
              <a:gd name="connsiteX5" fmla="*/ 1638823 w 8494248"/>
              <a:gd name="connsiteY5" fmla="*/ 0 h 5157084"/>
              <a:gd name="connsiteX0" fmla="*/ 1638823 w 8494248"/>
              <a:gd name="connsiteY0" fmla="*/ 0 h 5157084"/>
              <a:gd name="connsiteX1" fmla="*/ 8494248 w 8494248"/>
              <a:gd name="connsiteY1" fmla="*/ 1424 h 5157084"/>
              <a:gd name="connsiteX2" fmla="*/ 4282171 w 8494248"/>
              <a:gd name="connsiteY2" fmla="*/ 5157084 h 5157084"/>
              <a:gd name="connsiteX3" fmla="*/ 0 w 8494248"/>
              <a:gd name="connsiteY3" fmla="*/ 5157084 h 5157084"/>
              <a:gd name="connsiteX4" fmla="*/ 38637 w 8494248"/>
              <a:gd name="connsiteY4" fmla="*/ 4029826 h 5157084"/>
              <a:gd name="connsiteX5" fmla="*/ 1638823 w 8494248"/>
              <a:gd name="connsiteY5" fmla="*/ 0 h 5157084"/>
              <a:gd name="connsiteX0" fmla="*/ 1641398 w 8496823"/>
              <a:gd name="connsiteY0" fmla="*/ 0 h 5157084"/>
              <a:gd name="connsiteX1" fmla="*/ 8496823 w 8496823"/>
              <a:gd name="connsiteY1" fmla="*/ 1424 h 5157084"/>
              <a:gd name="connsiteX2" fmla="*/ 4284746 w 8496823"/>
              <a:gd name="connsiteY2" fmla="*/ 5157084 h 5157084"/>
              <a:gd name="connsiteX3" fmla="*/ 2575 w 8496823"/>
              <a:gd name="connsiteY3" fmla="*/ 5157084 h 5157084"/>
              <a:gd name="connsiteX4" fmla="*/ 0 w 8496823"/>
              <a:gd name="connsiteY4" fmla="*/ 3983462 h 5157084"/>
              <a:gd name="connsiteX5" fmla="*/ 1641398 w 8496823"/>
              <a:gd name="connsiteY5" fmla="*/ 0 h 5157084"/>
              <a:gd name="connsiteX0" fmla="*/ 1638256 w 8496823"/>
              <a:gd name="connsiteY0" fmla="*/ 0 h 5157084"/>
              <a:gd name="connsiteX1" fmla="*/ 8496823 w 8496823"/>
              <a:gd name="connsiteY1" fmla="*/ 1424 h 5157084"/>
              <a:gd name="connsiteX2" fmla="*/ 4284746 w 8496823"/>
              <a:gd name="connsiteY2" fmla="*/ 5157084 h 5157084"/>
              <a:gd name="connsiteX3" fmla="*/ 2575 w 8496823"/>
              <a:gd name="connsiteY3" fmla="*/ 5157084 h 5157084"/>
              <a:gd name="connsiteX4" fmla="*/ 0 w 8496823"/>
              <a:gd name="connsiteY4" fmla="*/ 3983462 h 5157084"/>
              <a:gd name="connsiteX5" fmla="*/ 1638256 w 8496823"/>
              <a:gd name="connsiteY5" fmla="*/ 0 h 5157084"/>
              <a:gd name="connsiteX0" fmla="*/ 1638256 w 8496823"/>
              <a:gd name="connsiteY0" fmla="*/ 0 h 6846184"/>
              <a:gd name="connsiteX1" fmla="*/ 8496823 w 8496823"/>
              <a:gd name="connsiteY1" fmla="*/ 1424 h 6846184"/>
              <a:gd name="connsiteX2" fmla="*/ 2900446 w 8496823"/>
              <a:gd name="connsiteY2" fmla="*/ 6846184 h 6846184"/>
              <a:gd name="connsiteX3" fmla="*/ 2575 w 8496823"/>
              <a:gd name="connsiteY3" fmla="*/ 5157084 h 6846184"/>
              <a:gd name="connsiteX4" fmla="*/ 0 w 8496823"/>
              <a:gd name="connsiteY4" fmla="*/ 3983462 h 6846184"/>
              <a:gd name="connsiteX5" fmla="*/ 1638256 w 8496823"/>
              <a:gd name="connsiteY5" fmla="*/ 0 h 6846184"/>
              <a:gd name="connsiteX0" fmla="*/ 1648381 w 8506948"/>
              <a:gd name="connsiteY0" fmla="*/ 0 h 6858884"/>
              <a:gd name="connsiteX1" fmla="*/ 8506948 w 8506948"/>
              <a:gd name="connsiteY1" fmla="*/ 1424 h 6858884"/>
              <a:gd name="connsiteX2" fmla="*/ 2910571 w 8506948"/>
              <a:gd name="connsiteY2" fmla="*/ 6846184 h 6858884"/>
              <a:gd name="connsiteX3" fmla="*/ 0 w 8506948"/>
              <a:gd name="connsiteY3" fmla="*/ 6858884 h 6858884"/>
              <a:gd name="connsiteX4" fmla="*/ 10125 w 8506948"/>
              <a:gd name="connsiteY4" fmla="*/ 3983462 h 6858884"/>
              <a:gd name="connsiteX5" fmla="*/ 1648381 w 8506948"/>
              <a:gd name="connsiteY5" fmla="*/ 0 h 6858884"/>
              <a:gd name="connsiteX0" fmla="*/ 1597581 w 8506948"/>
              <a:gd name="connsiteY0" fmla="*/ 0 h 6858884"/>
              <a:gd name="connsiteX1" fmla="*/ 8506948 w 8506948"/>
              <a:gd name="connsiteY1" fmla="*/ 1424 h 6858884"/>
              <a:gd name="connsiteX2" fmla="*/ 2910571 w 8506948"/>
              <a:gd name="connsiteY2" fmla="*/ 6846184 h 6858884"/>
              <a:gd name="connsiteX3" fmla="*/ 0 w 8506948"/>
              <a:gd name="connsiteY3" fmla="*/ 6858884 h 6858884"/>
              <a:gd name="connsiteX4" fmla="*/ 10125 w 8506948"/>
              <a:gd name="connsiteY4" fmla="*/ 3983462 h 6858884"/>
              <a:gd name="connsiteX5" fmla="*/ 1597581 w 8506948"/>
              <a:gd name="connsiteY5" fmla="*/ 0 h 6858884"/>
              <a:gd name="connsiteX0" fmla="*/ 2083733 w 8993100"/>
              <a:gd name="connsiteY0" fmla="*/ 0 h 6858884"/>
              <a:gd name="connsiteX1" fmla="*/ 8993100 w 8993100"/>
              <a:gd name="connsiteY1" fmla="*/ 1424 h 6858884"/>
              <a:gd name="connsiteX2" fmla="*/ 3396723 w 8993100"/>
              <a:gd name="connsiteY2" fmla="*/ 6846184 h 6858884"/>
              <a:gd name="connsiteX3" fmla="*/ 486152 w 8993100"/>
              <a:gd name="connsiteY3" fmla="*/ 6858884 h 6858884"/>
              <a:gd name="connsiteX4" fmla="*/ 0 w 8993100"/>
              <a:gd name="connsiteY4" fmla="*/ 5136231 h 6858884"/>
              <a:gd name="connsiteX5" fmla="*/ 2083733 w 8993100"/>
              <a:gd name="connsiteY5" fmla="*/ 0 h 6858884"/>
              <a:gd name="connsiteX0" fmla="*/ 2083733 w 8993100"/>
              <a:gd name="connsiteY0" fmla="*/ 0 h 6862792"/>
              <a:gd name="connsiteX1" fmla="*/ 8993100 w 8993100"/>
              <a:gd name="connsiteY1" fmla="*/ 1424 h 6862792"/>
              <a:gd name="connsiteX2" fmla="*/ 3396723 w 8993100"/>
              <a:gd name="connsiteY2" fmla="*/ 6846184 h 6862792"/>
              <a:gd name="connsiteX3" fmla="*/ 9413 w 8993100"/>
              <a:gd name="connsiteY3" fmla="*/ 6862792 h 6862792"/>
              <a:gd name="connsiteX4" fmla="*/ 0 w 8993100"/>
              <a:gd name="connsiteY4" fmla="*/ 5136231 h 6862792"/>
              <a:gd name="connsiteX5" fmla="*/ 2083733 w 8993100"/>
              <a:gd name="connsiteY5" fmla="*/ 0 h 6862792"/>
              <a:gd name="connsiteX0" fmla="*/ 2083733 w 8993100"/>
              <a:gd name="connsiteY0" fmla="*/ 0 h 6862792"/>
              <a:gd name="connsiteX1" fmla="*/ 8993100 w 8993100"/>
              <a:gd name="connsiteY1" fmla="*/ 1424 h 6862792"/>
              <a:gd name="connsiteX2" fmla="*/ 3396723 w 8993100"/>
              <a:gd name="connsiteY2" fmla="*/ 6846184 h 6862792"/>
              <a:gd name="connsiteX3" fmla="*/ 9413 w 8993100"/>
              <a:gd name="connsiteY3" fmla="*/ 6862792 h 6862792"/>
              <a:gd name="connsiteX4" fmla="*/ 0 w 8993100"/>
              <a:gd name="connsiteY4" fmla="*/ 5124508 h 6862792"/>
              <a:gd name="connsiteX5" fmla="*/ 2083733 w 8993100"/>
              <a:gd name="connsiteY5" fmla="*/ 0 h 6862792"/>
              <a:gd name="connsiteX0" fmla="*/ 2083733 w 8993100"/>
              <a:gd name="connsiteY0" fmla="*/ 0 h 6862792"/>
              <a:gd name="connsiteX1" fmla="*/ 8993100 w 8993100"/>
              <a:gd name="connsiteY1" fmla="*/ 1424 h 6862792"/>
              <a:gd name="connsiteX2" fmla="*/ 3388908 w 8993100"/>
              <a:gd name="connsiteY2" fmla="*/ 6857907 h 6862792"/>
              <a:gd name="connsiteX3" fmla="*/ 9413 w 8993100"/>
              <a:gd name="connsiteY3" fmla="*/ 6862792 h 6862792"/>
              <a:gd name="connsiteX4" fmla="*/ 0 w 8993100"/>
              <a:gd name="connsiteY4" fmla="*/ 5124508 h 6862792"/>
              <a:gd name="connsiteX5" fmla="*/ 2083733 w 8993100"/>
              <a:gd name="connsiteY5" fmla="*/ 0 h 6862792"/>
              <a:gd name="connsiteX0" fmla="*/ 2083733 w 8993100"/>
              <a:gd name="connsiteY0" fmla="*/ 0 h 6862792"/>
              <a:gd name="connsiteX1" fmla="*/ 8993100 w 8993100"/>
              <a:gd name="connsiteY1" fmla="*/ 1424 h 6862792"/>
              <a:gd name="connsiteX2" fmla="*/ 3388908 w 8993100"/>
              <a:gd name="connsiteY2" fmla="*/ 6857907 h 6862792"/>
              <a:gd name="connsiteX3" fmla="*/ 9413 w 8993100"/>
              <a:gd name="connsiteY3" fmla="*/ 6862792 h 6862792"/>
              <a:gd name="connsiteX4" fmla="*/ 0 w 8993100"/>
              <a:gd name="connsiteY4" fmla="*/ 5124508 h 6862792"/>
              <a:gd name="connsiteX5" fmla="*/ 2083733 w 8993100"/>
              <a:gd name="connsiteY5" fmla="*/ 0 h 6862792"/>
              <a:gd name="connsiteX0" fmla="*/ 2083733 w 8993100"/>
              <a:gd name="connsiteY0" fmla="*/ 0 h 6857907"/>
              <a:gd name="connsiteX1" fmla="*/ 8993100 w 8993100"/>
              <a:gd name="connsiteY1" fmla="*/ 1424 h 6857907"/>
              <a:gd name="connsiteX2" fmla="*/ 3388908 w 8993100"/>
              <a:gd name="connsiteY2" fmla="*/ 6857907 h 6857907"/>
              <a:gd name="connsiteX3" fmla="*/ 99290 w 8993100"/>
              <a:gd name="connsiteY3" fmla="*/ 6851069 h 6857907"/>
              <a:gd name="connsiteX4" fmla="*/ 0 w 8993100"/>
              <a:gd name="connsiteY4" fmla="*/ 5124508 h 6857907"/>
              <a:gd name="connsiteX5" fmla="*/ 2083733 w 8993100"/>
              <a:gd name="connsiteY5" fmla="*/ 0 h 6857907"/>
              <a:gd name="connsiteX0" fmla="*/ 2083733 w 8993100"/>
              <a:gd name="connsiteY0" fmla="*/ 0 h 6862792"/>
              <a:gd name="connsiteX1" fmla="*/ 8993100 w 8993100"/>
              <a:gd name="connsiteY1" fmla="*/ 1424 h 6862792"/>
              <a:gd name="connsiteX2" fmla="*/ 3388908 w 8993100"/>
              <a:gd name="connsiteY2" fmla="*/ 6857907 h 6862792"/>
              <a:gd name="connsiteX3" fmla="*/ 5505 w 8993100"/>
              <a:gd name="connsiteY3" fmla="*/ 6862792 h 6862792"/>
              <a:gd name="connsiteX4" fmla="*/ 0 w 8993100"/>
              <a:gd name="connsiteY4" fmla="*/ 5124508 h 6862792"/>
              <a:gd name="connsiteX5" fmla="*/ 2083733 w 8993100"/>
              <a:gd name="connsiteY5" fmla="*/ 0 h 6862792"/>
              <a:gd name="connsiteX0" fmla="*/ 2083733 w 8993100"/>
              <a:gd name="connsiteY0" fmla="*/ 0 h 6867554"/>
              <a:gd name="connsiteX1" fmla="*/ 8993100 w 8993100"/>
              <a:gd name="connsiteY1" fmla="*/ 6186 h 6867554"/>
              <a:gd name="connsiteX2" fmla="*/ 3388908 w 8993100"/>
              <a:gd name="connsiteY2" fmla="*/ 6862669 h 6867554"/>
              <a:gd name="connsiteX3" fmla="*/ 5505 w 8993100"/>
              <a:gd name="connsiteY3" fmla="*/ 6867554 h 6867554"/>
              <a:gd name="connsiteX4" fmla="*/ 0 w 8993100"/>
              <a:gd name="connsiteY4" fmla="*/ 5129270 h 6867554"/>
              <a:gd name="connsiteX5" fmla="*/ 2083733 w 8993100"/>
              <a:gd name="connsiteY5" fmla="*/ 0 h 6867554"/>
              <a:gd name="connsiteX0" fmla="*/ 2083733 w 8791676"/>
              <a:gd name="connsiteY0" fmla="*/ 0 h 6867554"/>
              <a:gd name="connsiteX1" fmla="*/ 8791676 w 8791676"/>
              <a:gd name="connsiteY1" fmla="*/ 22172 h 6867554"/>
              <a:gd name="connsiteX2" fmla="*/ 3388908 w 8791676"/>
              <a:gd name="connsiteY2" fmla="*/ 6862669 h 6867554"/>
              <a:gd name="connsiteX3" fmla="*/ 5505 w 8791676"/>
              <a:gd name="connsiteY3" fmla="*/ 6867554 h 6867554"/>
              <a:gd name="connsiteX4" fmla="*/ 0 w 8791676"/>
              <a:gd name="connsiteY4" fmla="*/ 5129270 h 6867554"/>
              <a:gd name="connsiteX5" fmla="*/ 2083733 w 8791676"/>
              <a:gd name="connsiteY5" fmla="*/ 0 h 6867554"/>
              <a:gd name="connsiteX0" fmla="*/ 2083733 w 8948339"/>
              <a:gd name="connsiteY0" fmla="*/ 208 h 6867762"/>
              <a:gd name="connsiteX1" fmla="*/ 8948339 w 8948339"/>
              <a:gd name="connsiteY1" fmla="*/ 0 h 6867762"/>
              <a:gd name="connsiteX2" fmla="*/ 3388908 w 8948339"/>
              <a:gd name="connsiteY2" fmla="*/ 6862877 h 6867762"/>
              <a:gd name="connsiteX3" fmla="*/ 5505 w 8948339"/>
              <a:gd name="connsiteY3" fmla="*/ 6867762 h 6867762"/>
              <a:gd name="connsiteX4" fmla="*/ 0 w 8948339"/>
              <a:gd name="connsiteY4" fmla="*/ 5129478 h 6867762"/>
              <a:gd name="connsiteX5" fmla="*/ 2083733 w 8948339"/>
              <a:gd name="connsiteY5" fmla="*/ 208 h 68677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948339" h="6867762">
                <a:moveTo>
                  <a:pt x="2083733" y="208"/>
                </a:moveTo>
                <a:lnTo>
                  <a:pt x="8948339" y="0"/>
                </a:lnTo>
                <a:lnTo>
                  <a:pt x="3388908" y="6862877"/>
                </a:lnTo>
                <a:lnTo>
                  <a:pt x="5505" y="6867762"/>
                </a:lnTo>
                <a:cubicBezTo>
                  <a:pt x="5505" y="6488575"/>
                  <a:pt x="0" y="5508665"/>
                  <a:pt x="0" y="5129478"/>
                </a:cubicBezTo>
                <a:lnTo>
                  <a:pt x="2083733" y="208"/>
                </a:lnTo>
                <a:close/>
              </a:path>
            </a:pathLst>
          </a:custGeom>
          <a:solidFill>
            <a:srgbClr val="55575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1866737" y="3588760"/>
            <a:ext cx="6604000" cy="0"/>
          </a:xfrm>
          <a:prstGeom prst="line">
            <a:avLst/>
          </a:prstGeom>
          <a:ln w="12700" cmpd="sng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19"/>
          <p:cNvSpPr>
            <a:spLocks noGrp="1"/>
          </p:cNvSpPr>
          <p:nvPr>
            <p:ph type="body" sz="quarter" idx="18" hasCustomPrompt="1"/>
          </p:nvPr>
        </p:nvSpPr>
        <p:spPr>
          <a:xfrm>
            <a:off x="1866739" y="3692359"/>
            <a:ext cx="5576799" cy="343400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FontTx/>
              <a:buNone/>
              <a:defRPr sz="1600" cap="all">
                <a:solidFill>
                  <a:schemeClr val="accent2"/>
                </a:solidFill>
                <a:latin typeface="+mn-lt"/>
              </a:defRPr>
            </a:lvl1pPr>
          </a:lstStyle>
          <a:p>
            <a:r>
              <a:rPr lang="en-US" sz="1600" dirty="0"/>
              <a:t>Click to edit SUB TITLE</a:t>
            </a:r>
          </a:p>
        </p:txBody>
      </p:sp>
      <p:sp>
        <p:nvSpPr>
          <p:cNvPr id="13" name="Text Placeholder 23"/>
          <p:cNvSpPr>
            <a:spLocks noGrp="1"/>
          </p:cNvSpPr>
          <p:nvPr>
            <p:ph type="body" sz="quarter" idx="19"/>
          </p:nvPr>
        </p:nvSpPr>
        <p:spPr>
          <a:xfrm>
            <a:off x="1866740" y="3059449"/>
            <a:ext cx="6154313" cy="452437"/>
          </a:xfrm>
          <a:prstGeom prst="rect">
            <a:avLst/>
          </a:prstGeom>
        </p:spPr>
        <p:txBody>
          <a:bodyPr vert="horz" lIns="0" rIns="0" bIns="0" anchor="b"/>
          <a:lstStyle>
            <a:lvl1pPr marL="0" indent="0">
              <a:buFontTx/>
              <a:buNone/>
              <a:defRPr sz="2500" cap="all" baseline="0">
                <a:solidFill>
                  <a:schemeClr val="bg1"/>
                </a:solidFill>
                <a:latin typeface="+mj-lt"/>
              </a:defRPr>
            </a:lvl1pPr>
            <a:lvl2pPr marL="457178" indent="0">
              <a:buFontTx/>
              <a:buNone/>
              <a:defRPr sz="2400" cap="all" baseline="0">
                <a:solidFill>
                  <a:schemeClr val="bg1"/>
                </a:solidFill>
              </a:defRPr>
            </a:lvl2pPr>
            <a:lvl3pPr marL="914354" indent="0">
              <a:buFontTx/>
              <a:buNone/>
              <a:defRPr sz="2400" cap="all" baseline="0">
                <a:solidFill>
                  <a:schemeClr val="bg1"/>
                </a:solidFill>
              </a:defRPr>
            </a:lvl3pPr>
            <a:lvl4pPr marL="1371532" indent="0">
              <a:buFontTx/>
              <a:buNone/>
              <a:defRPr sz="2400" cap="all" baseline="0">
                <a:solidFill>
                  <a:schemeClr val="bg1"/>
                </a:solidFill>
              </a:defRPr>
            </a:lvl4pPr>
            <a:lvl5pPr marL="1828709" indent="0">
              <a:buFontTx/>
              <a:buNone/>
              <a:defRPr sz="2400" cap="all" baseline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179975" y="6197563"/>
            <a:ext cx="2658995" cy="343835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3" cstate="email">
            <a:duotone>
              <a:prstClr val="black"/>
              <a:srgbClr val="95D600">
                <a:tint val="45000"/>
                <a:satMod val="400000"/>
              </a:srgb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1935" y="-3993"/>
            <a:ext cx="2809700" cy="52326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11658630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orBlock_Title Slide -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1396" y="3692"/>
            <a:ext cx="12201685" cy="685430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2786486" y="3588760"/>
            <a:ext cx="9005617" cy="0"/>
          </a:xfrm>
          <a:prstGeom prst="line">
            <a:avLst/>
          </a:prstGeom>
          <a:ln w="12700" cmpd="sng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19"/>
          <p:cNvSpPr>
            <a:spLocks noGrp="1"/>
          </p:cNvSpPr>
          <p:nvPr>
            <p:ph type="body" sz="quarter" idx="18" hasCustomPrompt="1"/>
          </p:nvPr>
        </p:nvSpPr>
        <p:spPr>
          <a:xfrm>
            <a:off x="2786487" y="3692359"/>
            <a:ext cx="9005616" cy="343400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FontTx/>
              <a:buNone/>
              <a:defRPr sz="1600" cap="all">
                <a:solidFill>
                  <a:schemeClr val="accent2"/>
                </a:solidFill>
                <a:latin typeface="+mn-lt"/>
              </a:defRPr>
            </a:lvl1pPr>
          </a:lstStyle>
          <a:p>
            <a:r>
              <a:rPr lang="en-US" sz="1600" dirty="0"/>
              <a:t>Click to edit SUB TITLE</a:t>
            </a:r>
          </a:p>
        </p:txBody>
      </p:sp>
      <p:sp>
        <p:nvSpPr>
          <p:cNvPr id="13" name="Text Placeholder 23"/>
          <p:cNvSpPr>
            <a:spLocks noGrp="1"/>
          </p:cNvSpPr>
          <p:nvPr>
            <p:ph type="body" sz="quarter" idx="19"/>
          </p:nvPr>
        </p:nvSpPr>
        <p:spPr>
          <a:xfrm>
            <a:off x="2786487" y="3059449"/>
            <a:ext cx="9005616" cy="452437"/>
          </a:xfrm>
          <a:prstGeom prst="rect">
            <a:avLst/>
          </a:prstGeom>
        </p:spPr>
        <p:txBody>
          <a:bodyPr vert="horz" lIns="0" rIns="0" bIns="0" anchor="b"/>
          <a:lstStyle>
            <a:lvl1pPr marL="0" indent="0">
              <a:buFontTx/>
              <a:buNone/>
              <a:defRPr sz="2500" cap="all" baseline="0">
                <a:solidFill>
                  <a:schemeClr val="bg1"/>
                </a:solidFill>
                <a:latin typeface="+mj-lt"/>
              </a:defRPr>
            </a:lvl1pPr>
            <a:lvl2pPr marL="457178" indent="0">
              <a:buFontTx/>
              <a:buNone/>
              <a:defRPr sz="2400" cap="all" baseline="0">
                <a:solidFill>
                  <a:schemeClr val="bg1"/>
                </a:solidFill>
              </a:defRPr>
            </a:lvl2pPr>
            <a:lvl3pPr marL="914354" indent="0">
              <a:buFontTx/>
              <a:buNone/>
              <a:defRPr sz="2400" cap="all" baseline="0">
                <a:solidFill>
                  <a:schemeClr val="bg1"/>
                </a:solidFill>
              </a:defRPr>
            </a:lvl3pPr>
            <a:lvl4pPr marL="1371532" indent="0">
              <a:buFontTx/>
              <a:buNone/>
              <a:defRPr sz="2400" cap="all" baseline="0">
                <a:solidFill>
                  <a:schemeClr val="bg1"/>
                </a:solidFill>
              </a:defRPr>
            </a:lvl4pPr>
            <a:lvl5pPr marL="1828709" indent="0">
              <a:buFontTx/>
              <a:buNone/>
              <a:defRPr sz="2400" cap="all" baseline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Freeform 14"/>
          <p:cNvSpPr/>
          <p:nvPr userDrawn="1"/>
        </p:nvSpPr>
        <p:spPr>
          <a:xfrm>
            <a:off x="-8596" y="-3908"/>
            <a:ext cx="2781343" cy="5136220"/>
          </a:xfrm>
          <a:custGeom>
            <a:avLst/>
            <a:gdLst>
              <a:gd name="connsiteX0" fmla="*/ 0 w 1661746"/>
              <a:gd name="connsiteY0" fmla="*/ 0 h 4044462"/>
              <a:gd name="connsiteX1" fmla="*/ 1661746 w 1661746"/>
              <a:gd name="connsiteY1" fmla="*/ 0 h 4044462"/>
              <a:gd name="connsiteX2" fmla="*/ 17585 w 1661746"/>
              <a:gd name="connsiteY2" fmla="*/ 4044462 h 4044462"/>
              <a:gd name="connsiteX3" fmla="*/ 0 w 1661746"/>
              <a:gd name="connsiteY3" fmla="*/ 0 h 4044462"/>
              <a:gd name="connsiteX0" fmla="*/ 0 w 1661746"/>
              <a:gd name="connsiteY0" fmla="*/ 0 h 4039867"/>
              <a:gd name="connsiteX1" fmla="*/ 1661746 w 1661746"/>
              <a:gd name="connsiteY1" fmla="*/ 0 h 4039867"/>
              <a:gd name="connsiteX2" fmla="*/ 12990 w 1661746"/>
              <a:gd name="connsiteY2" fmla="*/ 4039867 h 4039867"/>
              <a:gd name="connsiteX3" fmla="*/ 0 w 1661746"/>
              <a:gd name="connsiteY3" fmla="*/ 0 h 4039867"/>
              <a:gd name="connsiteX0" fmla="*/ 170948 w 1648895"/>
              <a:gd name="connsiteY0" fmla="*/ 284889 h 4039867"/>
              <a:gd name="connsiteX1" fmla="*/ 1648895 w 1648895"/>
              <a:gd name="connsiteY1" fmla="*/ 0 h 4039867"/>
              <a:gd name="connsiteX2" fmla="*/ 139 w 1648895"/>
              <a:gd name="connsiteY2" fmla="*/ 4039867 h 4039867"/>
              <a:gd name="connsiteX3" fmla="*/ 170948 w 1648895"/>
              <a:gd name="connsiteY3" fmla="*/ 284889 h 4039867"/>
              <a:gd name="connsiteX0" fmla="*/ 170948 w 1653490"/>
              <a:gd name="connsiteY0" fmla="*/ 225154 h 3980132"/>
              <a:gd name="connsiteX1" fmla="*/ 1653490 w 1653490"/>
              <a:gd name="connsiteY1" fmla="*/ 0 h 3980132"/>
              <a:gd name="connsiteX2" fmla="*/ 139 w 1653490"/>
              <a:gd name="connsiteY2" fmla="*/ 3980132 h 3980132"/>
              <a:gd name="connsiteX3" fmla="*/ 170948 w 1653490"/>
              <a:gd name="connsiteY3" fmla="*/ 225154 h 3980132"/>
              <a:gd name="connsiteX0" fmla="*/ 170948 w 1658085"/>
              <a:gd name="connsiteY0" fmla="*/ 284889 h 4039867"/>
              <a:gd name="connsiteX1" fmla="*/ 1658085 w 1658085"/>
              <a:gd name="connsiteY1" fmla="*/ 0 h 4039867"/>
              <a:gd name="connsiteX2" fmla="*/ 139 w 1658085"/>
              <a:gd name="connsiteY2" fmla="*/ 4039867 h 4039867"/>
              <a:gd name="connsiteX3" fmla="*/ 170948 w 1658085"/>
              <a:gd name="connsiteY3" fmla="*/ 284889 h 4039867"/>
              <a:gd name="connsiteX0" fmla="*/ 0 w 1666341"/>
              <a:gd name="connsiteY0" fmla="*/ 4595 h 4039867"/>
              <a:gd name="connsiteX1" fmla="*/ 1666341 w 1666341"/>
              <a:gd name="connsiteY1" fmla="*/ 0 h 4039867"/>
              <a:gd name="connsiteX2" fmla="*/ 8395 w 1666341"/>
              <a:gd name="connsiteY2" fmla="*/ 4039867 h 4039867"/>
              <a:gd name="connsiteX3" fmla="*/ 0 w 1666341"/>
              <a:gd name="connsiteY3" fmla="*/ 4595 h 4039867"/>
              <a:gd name="connsiteX0" fmla="*/ 0 w 1666341"/>
              <a:gd name="connsiteY0" fmla="*/ 4595 h 4035272"/>
              <a:gd name="connsiteX1" fmla="*/ 1666341 w 1666341"/>
              <a:gd name="connsiteY1" fmla="*/ 0 h 4035272"/>
              <a:gd name="connsiteX2" fmla="*/ 8395 w 1666341"/>
              <a:gd name="connsiteY2" fmla="*/ 4035272 h 4035272"/>
              <a:gd name="connsiteX3" fmla="*/ 0 w 1666341"/>
              <a:gd name="connsiteY3" fmla="*/ 4595 h 4035272"/>
              <a:gd name="connsiteX0" fmla="*/ 56296 w 1658307"/>
              <a:gd name="connsiteY0" fmla="*/ 114874 h 4035272"/>
              <a:gd name="connsiteX1" fmla="*/ 1658307 w 1658307"/>
              <a:gd name="connsiteY1" fmla="*/ 0 h 4035272"/>
              <a:gd name="connsiteX2" fmla="*/ 361 w 1658307"/>
              <a:gd name="connsiteY2" fmla="*/ 4035272 h 4035272"/>
              <a:gd name="connsiteX3" fmla="*/ 56296 w 1658307"/>
              <a:gd name="connsiteY3" fmla="*/ 114874 h 4035272"/>
              <a:gd name="connsiteX0" fmla="*/ 2400 w 1659551"/>
              <a:gd name="connsiteY0" fmla="*/ 9190 h 4035272"/>
              <a:gd name="connsiteX1" fmla="*/ 1659551 w 1659551"/>
              <a:gd name="connsiteY1" fmla="*/ 0 h 4035272"/>
              <a:gd name="connsiteX2" fmla="*/ 1605 w 1659551"/>
              <a:gd name="connsiteY2" fmla="*/ 4035272 h 4035272"/>
              <a:gd name="connsiteX3" fmla="*/ 2400 w 1659551"/>
              <a:gd name="connsiteY3" fmla="*/ 9190 h 4035272"/>
              <a:gd name="connsiteX0" fmla="*/ 146 w 1659873"/>
              <a:gd name="connsiteY0" fmla="*/ 6614 h 4035272"/>
              <a:gd name="connsiteX1" fmla="*/ 1659873 w 1659873"/>
              <a:gd name="connsiteY1" fmla="*/ 0 h 4035272"/>
              <a:gd name="connsiteX2" fmla="*/ 1927 w 1659873"/>
              <a:gd name="connsiteY2" fmla="*/ 4035272 h 4035272"/>
              <a:gd name="connsiteX3" fmla="*/ 146 w 1659873"/>
              <a:gd name="connsiteY3" fmla="*/ 6614 h 4035272"/>
              <a:gd name="connsiteX0" fmla="*/ 146 w 1649570"/>
              <a:gd name="connsiteY0" fmla="*/ 0 h 4028658"/>
              <a:gd name="connsiteX1" fmla="*/ 1649570 w 1649570"/>
              <a:gd name="connsiteY1" fmla="*/ 11416 h 4028658"/>
              <a:gd name="connsiteX2" fmla="*/ 1927 w 1649570"/>
              <a:gd name="connsiteY2" fmla="*/ 4028658 h 4028658"/>
              <a:gd name="connsiteX3" fmla="*/ 146 w 1649570"/>
              <a:gd name="connsiteY3" fmla="*/ 0 h 4028658"/>
              <a:gd name="connsiteX0" fmla="*/ 57814 w 1647996"/>
              <a:gd name="connsiteY0" fmla="*/ 109645 h 4017242"/>
              <a:gd name="connsiteX1" fmla="*/ 1647996 w 1647996"/>
              <a:gd name="connsiteY1" fmla="*/ 0 h 4017242"/>
              <a:gd name="connsiteX2" fmla="*/ 353 w 1647996"/>
              <a:gd name="connsiteY2" fmla="*/ 4017242 h 4017242"/>
              <a:gd name="connsiteX3" fmla="*/ 57814 w 1647996"/>
              <a:gd name="connsiteY3" fmla="*/ 109645 h 4017242"/>
              <a:gd name="connsiteX0" fmla="*/ 52689 w 1648022"/>
              <a:gd name="connsiteY0" fmla="*/ 65857 h 4017242"/>
              <a:gd name="connsiteX1" fmla="*/ 1648022 w 1648022"/>
              <a:gd name="connsiteY1" fmla="*/ 0 h 4017242"/>
              <a:gd name="connsiteX2" fmla="*/ 379 w 1648022"/>
              <a:gd name="connsiteY2" fmla="*/ 4017242 h 4017242"/>
              <a:gd name="connsiteX3" fmla="*/ 52689 w 1648022"/>
              <a:gd name="connsiteY3" fmla="*/ 65857 h 4017242"/>
              <a:gd name="connsiteX0" fmla="*/ 9598 w 1648720"/>
              <a:gd name="connsiteY0" fmla="*/ 0 h 4020931"/>
              <a:gd name="connsiteX1" fmla="*/ 1648720 w 1648720"/>
              <a:gd name="connsiteY1" fmla="*/ 3689 h 4020931"/>
              <a:gd name="connsiteX2" fmla="*/ 1077 w 1648720"/>
              <a:gd name="connsiteY2" fmla="*/ 4020931 h 4020931"/>
              <a:gd name="connsiteX3" fmla="*/ 9598 w 1648720"/>
              <a:gd name="connsiteY3" fmla="*/ 0 h 4020931"/>
              <a:gd name="connsiteX0" fmla="*/ 12067 w 1651189"/>
              <a:gd name="connsiteY0" fmla="*/ 0 h 4023507"/>
              <a:gd name="connsiteX1" fmla="*/ 1651189 w 1651189"/>
              <a:gd name="connsiteY1" fmla="*/ 3689 h 4023507"/>
              <a:gd name="connsiteX2" fmla="*/ 971 w 1651189"/>
              <a:gd name="connsiteY2" fmla="*/ 4023507 h 4023507"/>
              <a:gd name="connsiteX3" fmla="*/ 12067 w 1651189"/>
              <a:gd name="connsiteY3" fmla="*/ 0 h 4023507"/>
              <a:gd name="connsiteX0" fmla="*/ 0 w 1639122"/>
              <a:gd name="connsiteY0" fmla="*/ 0 h 4023507"/>
              <a:gd name="connsiteX1" fmla="*/ 1639122 w 1639122"/>
              <a:gd name="connsiteY1" fmla="*/ 3689 h 4023507"/>
              <a:gd name="connsiteX2" fmla="*/ 6935 w 1639122"/>
              <a:gd name="connsiteY2" fmla="*/ 4023507 h 4023507"/>
              <a:gd name="connsiteX3" fmla="*/ 0 w 1639122"/>
              <a:gd name="connsiteY3" fmla="*/ 0 h 4023507"/>
              <a:gd name="connsiteX0" fmla="*/ 17059 w 1656181"/>
              <a:gd name="connsiteY0" fmla="*/ 0 h 4015780"/>
              <a:gd name="connsiteX1" fmla="*/ 1656181 w 1656181"/>
              <a:gd name="connsiteY1" fmla="*/ 3689 h 4015780"/>
              <a:gd name="connsiteX2" fmla="*/ 812 w 1656181"/>
              <a:gd name="connsiteY2" fmla="*/ 4015780 h 4015780"/>
              <a:gd name="connsiteX3" fmla="*/ 17059 w 1656181"/>
              <a:gd name="connsiteY3" fmla="*/ 0 h 4015780"/>
              <a:gd name="connsiteX0" fmla="*/ 0 w 1639122"/>
              <a:gd name="connsiteY0" fmla="*/ 0 h 3899870"/>
              <a:gd name="connsiteX1" fmla="*/ 1639122 w 1639122"/>
              <a:gd name="connsiteY1" fmla="*/ 3689 h 3899870"/>
              <a:gd name="connsiteX2" fmla="*/ 73905 w 1639122"/>
              <a:gd name="connsiteY2" fmla="*/ 3899870 h 3899870"/>
              <a:gd name="connsiteX3" fmla="*/ 0 w 1639122"/>
              <a:gd name="connsiteY3" fmla="*/ 0 h 3899870"/>
              <a:gd name="connsiteX0" fmla="*/ 0 w 1639122"/>
              <a:gd name="connsiteY0" fmla="*/ 0 h 3987447"/>
              <a:gd name="connsiteX1" fmla="*/ 1639122 w 1639122"/>
              <a:gd name="connsiteY1" fmla="*/ 3689 h 3987447"/>
              <a:gd name="connsiteX2" fmla="*/ 6935 w 1639122"/>
              <a:gd name="connsiteY2" fmla="*/ 3987447 h 3987447"/>
              <a:gd name="connsiteX3" fmla="*/ 0 w 1639122"/>
              <a:gd name="connsiteY3" fmla="*/ 0 h 3987447"/>
              <a:gd name="connsiteX0" fmla="*/ 144 w 1639266"/>
              <a:gd name="connsiteY0" fmla="*/ 0 h 3987447"/>
              <a:gd name="connsiteX1" fmla="*/ 1639266 w 1639266"/>
              <a:gd name="connsiteY1" fmla="*/ 3689 h 3987447"/>
              <a:gd name="connsiteX2" fmla="*/ 1927 w 1639266"/>
              <a:gd name="connsiteY2" fmla="*/ 3987447 h 3987447"/>
              <a:gd name="connsiteX3" fmla="*/ 144 w 1639266"/>
              <a:gd name="connsiteY3" fmla="*/ 0 h 3987447"/>
              <a:gd name="connsiteX0" fmla="*/ 2397 w 1641519"/>
              <a:gd name="connsiteY0" fmla="*/ 0 h 3995174"/>
              <a:gd name="connsiteX1" fmla="*/ 1641519 w 1641519"/>
              <a:gd name="connsiteY1" fmla="*/ 3689 h 3995174"/>
              <a:gd name="connsiteX2" fmla="*/ 1605 w 1641519"/>
              <a:gd name="connsiteY2" fmla="*/ 3995174 h 3995174"/>
              <a:gd name="connsiteX3" fmla="*/ 2397 w 1641519"/>
              <a:gd name="connsiteY3" fmla="*/ 0 h 3995174"/>
              <a:gd name="connsiteX0" fmla="*/ 9681 w 1648803"/>
              <a:gd name="connsiteY0" fmla="*/ 0 h 5116681"/>
              <a:gd name="connsiteX1" fmla="*/ 1648803 w 1648803"/>
              <a:gd name="connsiteY1" fmla="*/ 3689 h 5116681"/>
              <a:gd name="connsiteX2" fmla="*/ 1073 w 1648803"/>
              <a:gd name="connsiteY2" fmla="*/ 5116681 h 5116681"/>
              <a:gd name="connsiteX3" fmla="*/ 9681 w 1648803"/>
              <a:gd name="connsiteY3" fmla="*/ 0 h 5116681"/>
              <a:gd name="connsiteX0" fmla="*/ 9681 w 2078650"/>
              <a:gd name="connsiteY0" fmla="*/ 0 h 5116681"/>
              <a:gd name="connsiteX1" fmla="*/ 2078650 w 2078650"/>
              <a:gd name="connsiteY1" fmla="*/ 3689 h 5116681"/>
              <a:gd name="connsiteX2" fmla="*/ 1073 w 2078650"/>
              <a:gd name="connsiteY2" fmla="*/ 5116681 h 5116681"/>
              <a:gd name="connsiteX3" fmla="*/ 9681 w 2078650"/>
              <a:gd name="connsiteY3" fmla="*/ 0 h 5116681"/>
              <a:gd name="connsiteX0" fmla="*/ 5986 w 2078862"/>
              <a:gd name="connsiteY0" fmla="*/ 0 h 5120589"/>
              <a:gd name="connsiteX1" fmla="*/ 2078862 w 2078862"/>
              <a:gd name="connsiteY1" fmla="*/ 7597 h 5120589"/>
              <a:gd name="connsiteX2" fmla="*/ 1285 w 2078862"/>
              <a:gd name="connsiteY2" fmla="*/ 5120589 h 5120589"/>
              <a:gd name="connsiteX3" fmla="*/ 5986 w 2078862"/>
              <a:gd name="connsiteY3" fmla="*/ 0 h 5120589"/>
              <a:gd name="connsiteX0" fmla="*/ 2400 w 2075276"/>
              <a:gd name="connsiteY0" fmla="*/ 0 h 5108866"/>
              <a:gd name="connsiteX1" fmla="*/ 2075276 w 2075276"/>
              <a:gd name="connsiteY1" fmla="*/ 7597 h 5108866"/>
              <a:gd name="connsiteX2" fmla="*/ 1606 w 2075276"/>
              <a:gd name="connsiteY2" fmla="*/ 5108866 h 5108866"/>
              <a:gd name="connsiteX3" fmla="*/ 2400 w 2075276"/>
              <a:gd name="connsiteY3" fmla="*/ 0 h 5108866"/>
              <a:gd name="connsiteX0" fmla="*/ 5987 w 2078863"/>
              <a:gd name="connsiteY0" fmla="*/ 0 h 5136220"/>
              <a:gd name="connsiteX1" fmla="*/ 2078863 w 2078863"/>
              <a:gd name="connsiteY1" fmla="*/ 7597 h 5136220"/>
              <a:gd name="connsiteX2" fmla="*/ 1285 w 2078863"/>
              <a:gd name="connsiteY2" fmla="*/ 5136220 h 5136220"/>
              <a:gd name="connsiteX3" fmla="*/ 5987 w 2078863"/>
              <a:gd name="connsiteY3" fmla="*/ 0 h 5136220"/>
              <a:gd name="connsiteX0" fmla="*/ 5987 w 2086007"/>
              <a:gd name="connsiteY0" fmla="*/ 0 h 5136220"/>
              <a:gd name="connsiteX1" fmla="*/ 2086007 w 2086007"/>
              <a:gd name="connsiteY1" fmla="*/ 2835 h 5136220"/>
              <a:gd name="connsiteX2" fmla="*/ 1285 w 2086007"/>
              <a:gd name="connsiteY2" fmla="*/ 5136220 h 5136220"/>
              <a:gd name="connsiteX3" fmla="*/ 5987 w 2086007"/>
              <a:gd name="connsiteY3" fmla="*/ 0 h 51362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086007" h="5136220">
                <a:moveTo>
                  <a:pt x="5987" y="0"/>
                </a:moveTo>
                <a:lnTo>
                  <a:pt x="2086007" y="2835"/>
                </a:lnTo>
                <a:cubicBezTo>
                  <a:pt x="1539369" y="1333330"/>
                  <a:pt x="547923" y="3805725"/>
                  <a:pt x="1285" y="5136220"/>
                </a:cubicBezTo>
                <a:cubicBezTo>
                  <a:pt x="-4577" y="3790997"/>
                  <a:pt x="11849" y="1354016"/>
                  <a:pt x="5987" y="0"/>
                </a:cubicBezTo>
                <a:close/>
              </a:path>
            </a:pathLst>
          </a:custGeom>
          <a:gradFill>
            <a:gsLst>
              <a:gs pos="0">
                <a:srgbClr val="648C1A"/>
              </a:gs>
              <a:gs pos="100000">
                <a:schemeClr val="accent2"/>
              </a:gs>
            </a:gsLst>
            <a:lin ang="108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940800" y="6042893"/>
            <a:ext cx="3144520" cy="6547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22639697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ivider -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6096007" y="1"/>
            <a:ext cx="6095999" cy="685713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18" name="Rectangle 17"/>
          <p:cNvSpPr/>
          <p:nvPr userDrawn="1"/>
        </p:nvSpPr>
        <p:spPr>
          <a:xfrm>
            <a:off x="1" y="866"/>
            <a:ext cx="6096000" cy="6857135"/>
          </a:xfrm>
          <a:prstGeom prst="rect">
            <a:avLst/>
          </a:prstGeom>
          <a:solidFill>
            <a:srgbClr val="5C5C5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19" name="Text Placeholder 23"/>
          <p:cNvSpPr>
            <a:spLocks noGrp="1"/>
          </p:cNvSpPr>
          <p:nvPr>
            <p:ph type="body" sz="quarter" idx="12" hasCustomPrompt="1"/>
          </p:nvPr>
        </p:nvSpPr>
        <p:spPr>
          <a:xfrm>
            <a:off x="8947053" y="858420"/>
            <a:ext cx="2963436" cy="4842504"/>
          </a:xfrm>
          <a:prstGeom prst="rect">
            <a:avLst/>
          </a:prstGeom>
        </p:spPr>
        <p:txBody>
          <a:bodyPr vert="horz" lIns="0" rIns="0" bIns="0" anchor="ctr"/>
          <a:lstStyle>
            <a:lvl1pPr marL="0" indent="0">
              <a:buFontTx/>
              <a:buNone/>
              <a:defRPr sz="2000" cap="all" baseline="0">
                <a:solidFill>
                  <a:srgbClr val="555759"/>
                </a:solidFill>
              </a:defRPr>
            </a:lvl1pPr>
            <a:lvl2pPr marL="457178" indent="0">
              <a:buFontTx/>
              <a:buNone/>
              <a:defRPr sz="2400" cap="all" baseline="0">
                <a:solidFill>
                  <a:schemeClr val="bg1"/>
                </a:solidFill>
              </a:defRPr>
            </a:lvl2pPr>
            <a:lvl3pPr marL="914354" indent="0">
              <a:buFontTx/>
              <a:buNone/>
              <a:defRPr sz="2400" cap="all" baseline="0">
                <a:solidFill>
                  <a:schemeClr val="bg1"/>
                </a:solidFill>
              </a:defRPr>
            </a:lvl3pPr>
            <a:lvl4pPr marL="1371532" indent="0">
              <a:buFontTx/>
              <a:buNone/>
              <a:defRPr sz="2400" cap="all" baseline="0">
                <a:solidFill>
                  <a:schemeClr val="bg1"/>
                </a:solidFill>
              </a:defRPr>
            </a:lvl4pPr>
            <a:lvl5pPr marL="1828709" indent="0">
              <a:buFontTx/>
              <a:buNone/>
              <a:defRPr sz="2400" cap="all" baseline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DIVIDER SLIDE</a:t>
            </a:r>
          </a:p>
          <a:p>
            <a:pPr lvl="0"/>
            <a:r>
              <a:rPr lang="en-US" dirty="0"/>
              <a:t>OPTIONAL TEXT</a:t>
            </a:r>
          </a:p>
        </p:txBody>
      </p:sp>
      <p:pic>
        <p:nvPicPr>
          <p:cNvPr id="21" name="Picture 20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472526" y="858420"/>
            <a:ext cx="5246949" cy="4842504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07280" y="6396705"/>
            <a:ext cx="1303209" cy="168678"/>
          </a:xfrm>
          <a:prstGeom prst="rect">
            <a:avLst/>
          </a:prstGeom>
        </p:spPr>
      </p:pic>
      <p:sp>
        <p:nvSpPr>
          <p:cNvPr id="8" name="TextBox 7"/>
          <p:cNvSpPr txBox="1"/>
          <p:nvPr userDrawn="1"/>
        </p:nvSpPr>
        <p:spPr>
          <a:xfrm>
            <a:off x="-11935" y="6396704"/>
            <a:ext cx="6107936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900" i="1" dirty="0">
                <a:solidFill>
                  <a:srgbClr val="555759">
                    <a:lumMod val="60000"/>
                    <a:lumOff val="40000"/>
                  </a:srgbClr>
                </a:solidFill>
              </a:rPr>
              <a:t>Confidential and Proprietary</a:t>
            </a:r>
          </a:p>
        </p:txBody>
      </p:sp>
    </p:spTree>
    <p:extLst>
      <p:ext uri="{BB962C8B-B14F-4D97-AF65-F5344CB8AC3E}">
        <p14:creationId xmlns:p14="http://schemas.microsoft.com/office/powerpoint/2010/main" val="518638871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gal_Title Slide -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84731"/>
            <a:ext cx="12201685" cy="685430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9" name="Freeform 8"/>
          <p:cNvSpPr/>
          <p:nvPr userDrawn="1"/>
        </p:nvSpPr>
        <p:spPr>
          <a:xfrm>
            <a:off x="-11936" y="-3149"/>
            <a:ext cx="11931119" cy="6942187"/>
          </a:xfrm>
          <a:custGeom>
            <a:avLst/>
            <a:gdLst>
              <a:gd name="connsiteX0" fmla="*/ 1643975 w 8501975"/>
              <a:gd name="connsiteY0" fmla="*/ 0 h 5175115"/>
              <a:gd name="connsiteX1" fmla="*/ 8501975 w 8501975"/>
              <a:gd name="connsiteY1" fmla="*/ 19455 h 5175115"/>
              <a:gd name="connsiteX2" fmla="*/ 4289898 w 8501975"/>
              <a:gd name="connsiteY2" fmla="*/ 5175115 h 5175115"/>
              <a:gd name="connsiteX3" fmla="*/ 0 w 8501975"/>
              <a:gd name="connsiteY3" fmla="*/ 5175115 h 5175115"/>
              <a:gd name="connsiteX4" fmla="*/ 0 w 8501975"/>
              <a:gd name="connsiteY4" fmla="*/ 4027251 h 5175115"/>
              <a:gd name="connsiteX5" fmla="*/ 1643975 w 8501975"/>
              <a:gd name="connsiteY5" fmla="*/ 0 h 5175115"/>
              <a:gd name="connsiteX0" fmla="*/ 1649126 w 8507126"/>
              <a:gd name="connsiteY0" fmla="*/ 0 h 5175115"/>
              <a:gd name="connsiteX1" fmla="*/ 8507126 w 8507126"/>
              <a:gd name="connsiteY1" fmla="*/ 19455 h 5175115"/>
              <a:gd name="connsiteX2" fmla="*/ 4295049 w 8507126"/>
              <a:gd name="connsiteY2" fmla="*/ 5175115 h 5175115"/>
              <a:gd name="connsiteX3" fmla="*/ 5151 w 8507126"/>
              <a:gd name="connsiteY3" fmla="*/ 5175115 h 5175115"/>
              <a:gd name="connsiteX4" fmla="*/ 0 w 8507126"/>
              <a:gd name="connsiteY4" fmla="*/ 4037554 h 5175115"/>
              <a:gd name="connsiteX5" fmla="*/ 1649126 w 8507126"/>
              <a:gd name="connsiteY5" fmla="*/ 0 h 5175115"/>
              <a:gd name="connsiteX0" fmla="*/ 1649127 w 8507127"/>
              <a:gd name="connsiteY0" fmla="*/ 0 h 5175115"/>
              <a:gd name="connsiteX1" fmla="*/ 8507127 w 8507127"/>
              <a:gd name="connsiteY1" fmla="*/ 19455 h 5175115"/>
              <a:gd name="connsiteX2" fmla="*/ 4295050 w 8507127"/>
              <a:gd name="connsiteY2" fmla="*/ 5175115 h 5175115"/>
              <a:gd name="connsiteX3" fmla="*/ 0 w 8507127"/>
              <a:gd name="connsiteY3" fmla="*/ 5175115 h 5175115"/>
              <a:gd name="connsiteX4" fmla="*/ 1 w 8507127"/>
              <a:gd name="connsiteY4" fmla="*/ 4037554 h 5175115"/>
              <a:gd name="connsiteX5" fmla="*/ 1649127 w 8507127"/>
              <a:gd name="connsiteY5" fmla="*/ 0 h 5175115"/>
              <a:gd name="connsiteX0" fmla="*/ 1690339 w 8507127"/>
              <a:gd name="connsiteY0" fmla="*/ 34637 h 5155660"/>
              <a:gd name="connsiteX1" fmla="*/ 8507127 w 8507127"/>
              <a:gd name="connsiteY1" fmla="*/ 0 h 5155660"/>
              <a:gd name="connsiteX2" fmla="*/ 4295050 w 8507127"/>
              <a:gd name="connsiteY2" fmla="*/ 5155660 h 5155660"/>
              <a:gd name="connsiteX3" fmla="*/ 0 w 8507127"/>
              <a:gd name="connsiteY3" fmla="*/ 5155660 h 5155660"/>
              <a:gd name="connsiteX4" fmla="*/ 1 w 8507127"/>
              <a:gd name="connsiteY4" fmla="*/ 4018099 h 5155660"/>
              <a:gd name="connsiteX5" fmla="*/ 1690339 w 8507127"/>
              <a:gd name="connsiteY5" fmla="*/ 34637 h 5155660"/>
              <a:gd name="connsiteX0" fmla="*/ 1651702 w 8507127"/>
              <a:gd name="connsiteY0" fmla="*/ 0 h 5157084"/>
              <a:gd name="connsiteX1" fmla="*/ 8507127 w 8507127"/>
              <a:gd name="connsiteY1" fmla="*/ 1424 h 5157084"/>
              <a:gd name="connsiteX2" fmla="*/ 4295050 w 8507127"/>
              <a:gd name="connsiteY2" fmla="*/ 5157084 h 5157084"/>
              <a:gd name="connsiteX3" fmla="*/ 0 w 8507127"/>
              <a:gd name="connsiteY3" fmla="*/ 5157084 h 5157084"/>
              <a:gd name="connsiteX4" fmla="*/ 1 w 8507127"/>
              <a:gd name="connsiteY4" fmla="*/ 4019523 h 5157084"/>
              <a:gd name="connsiteX5" fmla="*/ 1651702 w 8507127"/>
              <a:gd name="connsiteY5" fmla="*/ 0 h 5157084"/>
              <a:gd name="connsiteX0" fmla="*/ 1651702 w 8507127"/>
              <a:gd name="connsiteY0" fmla="*/ 0 h 5157084"/>
              <a:gd name="connsiteX1" fmla="*/ 8507127 w 8507127"/>
              <a:gd name="connsiteY1" fmla="*/ 1424 h 5157084"/>
              <a:gd name="connsiteX2" fmla="*/ 4295050 w 8507127"/>
              <a:gd name="connsiteY2" fmla="*/ 5157084 h 5157084"/>
              <a:gd name="connsiteX3" fmla="*/ 0 w 8507127"/>
              <a:gd name="connsiteY3" fmla="*/ 5157084 h 5157084"/>
              <a:gd name="connsiteX4" fmla="*/ 46365 w 8507127"/>
              <a:gd name="connsiteY4" fmla="*/ 4006644 h 5157084"/>
              <a:gd name="connsiteX5" fmla="*/ 1651702 w 8507127"/>
              <a:gd name="connsiteY5" fmla="*/ 0 h 5157084"/>
              <a:gd name="connsiteX0" fmla="*/ 1651702 w 8507127"/>
              <a:gd name="connsiteY0" fmla="*/ 0 h 5157084"/>
              <a:gd name="connsiteX1" fmla="*/ 8507127 w 8507127"/>
              <a:gd name="connsiteY1" fmla="*/ 1424 h 5157084"/>
              <a:gd name="connsiteX2" fmla="*/ 4295050 w 8507127"/>
              <a:gd name="connsiteY2" fmla="*/ 5157084 h 5157084"/>
              <a:gd name="connsiteX3" fmla="*/ 0 w 8507127"/>
              <a:gd name="connsiteY3" fmla="*/ 5157084 h 5157084"/>
              <a:gd name="connsiteX4" fmla="*/ 15455 w 8507127"/>
              <a:gd name="connsiteY4" fmla="*/ 3973159 h 5157084"/>
              <a:gd name="connsiteX5" fmla="*/ 1651702 w 8507127"/>
              <a:gd name="connsiteY5" fmla="*/ 0 h 5157084"/>
              <a:gd name="connsiteX0" fmla="*/ 1636247 w 8491672"/>
              <a:gd name="connsiteY0" fmla="*/ 0 h 5157084"/>
              <a:gd name="connsiteX1" fmla="*/ 8491672 w 8491672"/>
              <a:gd name="connsiteY1" fmla="*/ 1424 h 5157084"/>
              <a:gd name="connsiteX2" fmla="*/ 4279595 w 8491672"/>
              <a:gd name="connsiteY2" fmla="*/ 5157084 h 5157084"/>
              <a:gd name="connsiteX3" fmla="*/ 64394 w 8491672"/>
              <a:gd name="connsiteY3" fmla="*/ 5157084 h 5157084"/>
              <a:gd name="connsiteX4" fmla="*/ 0 w 8491672"/>
              <a:gd name="connsiteY4" fmla="*/ 3973159 h 5157084"/>
              <a:gd name="connsiteX5" fmla="*/ 1636247 w 8491672"/>
              <a:gd name="connsiteY5" fmla="*/ 0 h 5157084"/>
              <a:gd name="connsiteX0" fmla="*/ 1638823 w 8494248"/>
              <a:gd name="connsiteY0" fmla="*/ 0 h 5157084"/>
              <a:gd name="connsiteX1" fmla="*/ 8494248 w 8494248"/>
              <a:gd name="connsiteY1" fmla="*/ 1424 h 5157084"/>
              <a:gd name="connsiteX2" fmla="*/ 4282171 w 8494248"/>
              <a:gd name="connsiteY2" fmla="*/ 5157084 h 5157084"/>
              <a:gd name="connsiteX3" fmla="*/ 0 w 8494248"/>
              <a:gd name="connsiteY3" fmla="*/ 5157084 h 5157084"/>
              <a:gd name="connsiteX4" fmla="*/ 2576 w 8494248"/>
              <a:gd name="connsiteY4" fmla="*/ 3973159 h 5157084"/>
              <a:gd name="connsiteX5" fmla="*/ 1638823 w 8494248"/>
              <a:gd name="connsiteY5" fmla="*/ 0 h 5157084"/>
              <a:gd name="connsiteX0" fmla="*/ 1638823 w 8494248"/>
              <a:gd name="connsiteY0" fmla="*/ 0 h 5157084"/>
              <a:gd name="connsiteX1" fmla="*/ 8494248 w 8494248"/>
              <a:gd name="connsiteY1" fmla="*/ 1424 h 5157084"/>
              <a:gd name="connsiteX2" fmla="*/ 4282171 w 8494248"/>
              <a:gd name="connsiteY2" fmla="*/ 5157084 h 5157084"/>
              <a:gd name="connsiteX3" fmla="*/ 0 w 8494248"/>
              <a:gd name="connsiteY3" fmla="*/ 5157084 h 5157084"/>
              <a:gd name="connsiteX4" fmla="*/ 38637 w 8494248"/>
              <a:gd name="connsiteY4" fmla="*/ 4029826 h 5157084"/>
              <a:gd name="connsiteX5" fmla="*/ 1638823 w 8494248"/>
              <a:gd name="connsiteY5" fmla="*/ 0 h 5157084"/>
              <a:gd name="connsiteX0" fmla="*/ 1641398 w 8496823"/>
              <a:gd name="connsiteY0" fmla="*/ 0 h 5157084"/>
              <a:gd name="connsiteX1" fmla="*/ 8496823 w 8496823"/>
              <a:gd name="connsiteY1" fmla="*/ 1424 h 5157084"/>
              <a:gd name="connsiteX2" fmla="*/ 4284746 w 8496823"/>
              <a:gd name="connsiteY2" fmla="*/ 5157084 h 5157084"/>
              <a:gd name="connsiteX3" fmla="*/ 2575 w 8496823"/>
              <a:gd name="connsiteY3" fmla="*/ 5157084 h 5157084"/>
              <a:gd name="connsiteX4" fmla="*/ 0 w 8496823"/>
              <a:gd name="connsiteY4" fmla="*/ 3983462 h 5157084"/>
              <a:gd name="connsiteX5" fmla="*/ 1641398 w 8496823"/>
              <a:gd name="connsiteY5" fmla="*/ 0 h 5157084"/>
              <a:gd name="connsiteX0" fmla="*/ 1638256 w 8496823"/>
              <a:gd name="connsiteY0" fmla="*/ 0 h 5157084"/>
              <a:gd name="connsiteX1" fmla="*/ 8496823 w 8496823"/>
              <a:gd name="connsiteY1" fmla="*/ 1424 h 5157084"/>
              <a:gd name="connsiteX2" fmla="*/ 4284746 w 8496823"/>
              <a:gd name="connsiteY2" fmla="*/ 5157084 h 5157084"/>
              <a:gd name="connsiteX3" fmla="*/ 2575 w 8496823"/>
              <a:gd name="connsiteY3" fmla="*/ 5157084 h 5157084"/>
              <a:gd name="connsiteX4" fmla="*/ 0 w 8496823"/>
              <a:gd name="connsiteY4" fmla="*/ 3983462 h 5157084"/>
              <a:gd name="connsiteX5" fmla="*/ 1638256 w 8496823"/>
              <a:gd name="connsiteY5" fmla="*/ 0 h 5157084"/>
              <a:gd name="connsiteX0" fmla="*/ 1638256 w 8496823"/>
              <a:gd name="connsiteY0" fmla="*/ 0 h 6846184"/>
              <a:gd name="connsiteX1" fmla="*/ 8496823 w 8496823"/>
              <a:gd name="connsiteY1" fmla="*/ 1424 h 6846184"/>
              <a:gd name="connsiteX2" fmla="*/ 2900446 w 8496823"/>
              <a:gd name="connsiteY2" fmla="*/ 6846184 h 6846184"/>
              <a:gd name="connsiteX3" fmla="*/ 2575 w 8496823"/>
              <a:gd name="connsiteY3" fmla="*/ 5157084 h 6846184"/>
              <a:gd name="connsiteX4" fmla="*/ 0 w 8496823"/>
              <a:gd name="connsiteY4" fmla="*/ 3983462 h 6846184"/>
              <a:gd name="connsiteX5" fmla="*/ 1638256 w 8496823"/>
              <a:gd name="connsiteY5" fmla="*/ 0 h 6846184"/>
              <a:gd name="connsiteX0" fmla="*/ 1648381 w 8506948"/>
              <a:gd name="connsiteY0" fmla="*/ 0 h 6858884"/>
              <a:gd name="connsiteX1" fmla="*/ 8506948 w 8506948"/>
              <a:gd name="connsiteY1" fmla="*/ 1424 h 6858884"/>
              <a:gd name="connsiteX2" fmla="*/ 2910571 w 8506948"/>
              <a:gd name="connsiteY2" fmla="*/ 6846184 h 6858884"/>
              <a:gd name="connsiteX3" fmla="*/ 0 w 8506948"/>
              <a:gd name="connsiteY3" fmla="*/ 6858884 h 6858884"/>
              <a:gd name="connsiteX4" fmla="*/ 10125 w 8506948"/>
              <a:gd name="connsiteY4" fmla="*/ 3983462 h 6858884"/>
              <a:gd name="connsiteX5" fmla="*/ 1648381 w 8506948"/>
              <a:gd name="connsiteY5" fmla="*/ 0 h 6858884"/>
              <a:gd name="connsiteX0" fmla="*/ 1597581 w 8506948"/>
              <a:gd name="connsiteY0" fmla="*/ 0 h 6858884"/>
              <a:gd name="connsiteX1" fmla="*/ 8506948 w 8506948"/>
              <a:gd name="connsiteY1" fmla="*/ 1424 h 6858884"/>
              <a:gd name="connsiteX2" fmla="*/ 2910571 w 8506948"/>
              <a:gd name="connsiteY2" fmla="*/ 6846184 h 6858884"/>
              <a:gd name="connsiteX3" fmla="*/ 0 w 8506948"/>
              <a:gd name="connsiteY3" fmla="*/ 6858884 h 6858884"/>
              <a:gd name="connsiteX4" fmla="*/ 10125 w 8506948"/>
              <a:gd name="connsiteY4" fmla="*/ 3983462 h 6858884"/>
              <a:gd name="connsiteX5" fmla="*/ 1597581 w 8506948"/>
              <a:gd name="connsiteY5" fmla="*/ 0 h 6858884"/>
              <a:gd name="connsiteX0" fmla="*/ 2083733 w 8993100"/>
              <a:gd name="connsiteY0" fmla="*/ 0 h 6858884"/>
              <a:gd name="connsiteX1" fmla="*/ 8993100 w 8993100"/>
              <a:gd name="connsiteY1" fmla="*/ 1424 h 6858884"/>
              <a:gd name="connsiteX2" fmla="*/ 3396723 w 8993100"/>
              <a:gd name="connsiteY2" fmla="*/ 6846184 h 6858884"/>
              <a:gd name="connsiteX3" fmla="*/ 486152 w 8993100"/>
              <a:gd name="connsiteY3" fmla="*/ 6858884 h 6858884"/>
              <a:gd name="connsiteX4" fmla="*/ 0 w 8993100"/>
              <a:gd name="connsiteY4" fmla="*/ 5136231 h 6858884"/>
              <a:gd name="connsiteX5" fmla="*/ 2083733 w 8993100"/>
              <a:gd name="connsiteY5" fmla="*/ 0 h 6858884"/>
              <a:gd name="connsiteX0" fmla="*/ 2083733 w 8993100"/>
              <a:gd name="connsiteY0" fmla="*/ 0 h 6862792"/>
              <a:gd name="connsiteX1" fmla="*/ 8993100 w 8993100"/>
              <a:gd name="connsiteY1" fmla="*/ 1424 h 6862792"/>
              <a:gd name="connsiteX2" fmla="*/ 3396723 w 8993100"/>
              <a:gd name="connsiteY2" fmla="*/ 6846184 h 6862792"/>
              <a:gd name="connsiteX3" fmla="*/ 9413 w 8993100"/>
              <a:gd name="connsiteY3" fmla="*/ 6862792 h 6862792"/>
              <a:gd name="connsiteX4" fmla="*/ 0 w 8993100"/>
              <a:gd name="connsiteY4" fmla="*/ 5136231 h 6862792"/>
              <a:gd name="connsiteX5" fmla="*/ 2083733 w 8993100"/>
              <a:gd name="connsiteY5" fmla="*/ 0 h 6862792"/>
              <a:gd name="connsiteX0" fmla="*/ 2083733 w 8993100"/>
              <a:gd name="connsiteY0" fmla="*/ 0 h 6862792"/>
              <a:gd name="connsiteX1" fmla="*/ 8993100 w 8993100"/>
              <a:gd name="connsiteY1" fmla="*/ 1424 h 6862792"/>
              <a:gd name="connsiteX2" fmla="*/ 3396723 w 8993100"/>
              <a:gd name="connsiteY2" fmla="*/ 6846184 h 6862792"/>
              <a:gd name="connsiteX3" fmla="*/ 9413 w 8993100"/>
              <a:gd name="connsiteY3" fmla="*/ 6862792 h 6862792"/>
              <a:gd name="connsiteX4" fmla="*/ 0 w 8993100"/>
              <a:gd name="connsiteY4" fmla="*/ 5124508 h 6862792"/>
              <a:gd name="connsiteX5" fmla="*/ 2083733 w 8993100"/>
              <a:gd name="connsiteY5" fmla="*/ 0 h 6862792"/>
              <a:gd name="connsiteX0" fmla="*/ 2083733 w 8993100"/>
              <a:gd name="connsiteY0" fmla="*/ 0 h 6862792"/>
              <a:gd name="connsiteX1" fmla="*/ 8993100 w 8993100"/>
              <a:gd name="connsiteY1" fmla="*/ 1424 h 6862792"/>
              <a:gd name="connsiteX2" fmla="*/ 3388908 w 8993100"/>
              <a:gd name="connsiteY2" fmla="*/ 6857907 h 6862792"/>
              <a:gd name="connsiteX3" fmla="*/ 9413 w 8993100"/>
              <a:gd name="connsiteY3" fmla="*/ 6862792 h 6862792"/>
              <a:gd name="connsiteX4" fmla="*/ 0 w 8993100"/>
              <a:gd name="connsiteY4" fmla="*/ 5124508 h 6862792"/>
              <a:gd name="connsiteX5" fmla="*/ 2083733 w 8993100"/>
              <a:gd name="connsiteY5" fmla="*/ 0 h 6862792"/>
              <a:gd name="connsiteX0" fmla="*/ 2083733 w 8993100"/>
              <a:gd name="connsiteY0" fmla="*/ 0 h 6862792"/>
              <a:gd name="connsiteX1" fmla="*/ 8993100 w 8993100"/>
              <a:gd name="connsiteY1" fmla="*/ 1424 h 6862792"/>
              <a:gd name="connsiteX2" fmla="*/ 3388908 w 8993100"/>
              <a:gd name="connsiteY2" fmla="*/ 6857907 h 6862792"/>
              <a:gd name="connsiteX3" fmla="*/ 9413 w 8993100"/>
              <a:gd name="connsiteY3" fmla="*/ 6862792 h 6862792"/>
              <a:gd name="connsiteX4" fmla="*/ 0 w 8993100"/>
              <a:gd name="connsiteY4" fmla="*/ 5124508 h 6862792"/>
              <a:gd name="connsiteX5" fmla="*/ 2083733 w 8993100"/>
              <a:gd name="connsiteY5" fmla="*/ 0 h 6862792"/>
              <a:gd name="connsiteX0" fmla="*/ 2083733 w 8993100"/>
              <a:gd name="connsiteY0" fmla="*/ 0 h 6857907"/>
              <a:gd name="connsiteX1" fmla="*/ 8993100 w 8993100"/>
              <a:gd name="connsiteY1" fmla="*/ 1424 h 6857907"/>
              <a:gd name="connsiteX2" fmla="*/ 3388908 w 8993100"/>
              <a:gd name="connsiteY2" fmla="*/ 6857907 h 6857907"/>
              <a:gd name="connsiteX3" fmla="*/ 99290 w 8993100"/>
              <a:gd name="connsiteY3" fmla="*/ 6851069 h 6857907"/>
              <a:gd name="connsiteX4" fmla="*/ 0 w 8993100"/>
              <a:gd name="connsiteY4" fmla="*/ 5124508 h 6857907"/>
              <a:gd name="connsiteX5" fmla="*/ 2083733 w 8993100"/>
              <a:gd name="connsiteY5" fmla="*/ 0 h 6857907"/>
              <a:gd name="connsiteX0" fmla="*/ 2083733 w 8993100"/>
              <a:gd name="connsiteY0" fmla="*/ 0 h 6862792"/>
              <a:gd name="connsiteX1" fmla="*/ 8993100 w 8993100"/>
              <a:gd name="connsiteY1" fmla="*/ 1424 h 6862792"/>
              <a:gd name="connsiteX2" fmla="*/ 3388908 w 8993100"/>
              <a:gd name="connsiteY2" fmla="*/ 6857907 h 6862792"/>
              <a:gd name="connsiteX3" fmla="*/ 5505 w 8993100"/>
              <a:gd name="connsiteY3" fmla="*/ 6862792 h 6862792"/>
              <a:gd name="connsiteX4" fmla="*/ 0 w 8993100"/>
              <a:gd name="connsiteY4" fmla="*/ 5124508 h 6862792"/>
              <a:gd name="connsiteX5" fmla="*/ 2083733 w 8993100"/>
              <a:gd name="connsiteY5" fmla="*/ 0 h 6862792"/>
              <a:gd name="connsiteX0" fmla="*/ 2083733 w 8993100"/>
              <a:gd name="connsiteY0" fmla="*/ 0 h 6867554"/>
              <a:gd name="connsiteX1" fmla="*/ 8993100 w 8993100"/>
              <a:gd name="connsiteY1" fmla="*/ 6186 h 6867554"/>
              <a:gd name="connsiteX2" fmla="*/ 3388908 w 8993100"/>
              <a:gd name="connsiteY2" fmla="*/ 6862669 h 6867554"/>
              <a:gd name="connsiteX3" fmla="*/ 5505 w 8993100"/>
              <a:gd name="connsiteY3" fmla="*/ 6867554 h 6867554"/>
              <a:gd name="connsiteX4" fmla="*/ 0 w 8993100"/>
              <a:gd name="connsiteY4" fmla="*/ 5129270 h 6867554"/>
              <a:gd name="connsiteX5" fmla="*/ 2083733 w 8993100"/>
              <a:gd name="connsiteY5" fmla="*/ 0 h 6867554"/>
              <a:gd name="connsiteX0" fmla="*/ 2083733 w 8791676"/>
              <a:gd name="connsiteY0" fmla="*/ 0 h 6867554"/>
              <a:gd name="connsiteX1" fmla="*/ 8791676 w 8791676"/>
              <a:gd name="connsiteY1" fmla="*/ 22172 h 6867554"/>
              <a:gd name="connsiteX2" fmla="*/ 3388908 w 8791676"/>
              <a:gd name="connsiteY2" fmla="*/ 6862669 h 6867554"/>
              <a:gd name="connsiteX3" fmla="*/ 5505 w 8791676"/>
              <a:gd name="connsiteY3" fmla="*/ 6867554 h 6867554"/>
              <a:gd name="connsiteX4" fmla="*/ 0 w 8791676"/>
              <a:gd name="connsiteY4" fmla="*/ 5129270 h 6867554"/>
              <a:gd name="connsiteX5" fmla="*/ 2083733 w 8791676"/>
              <a:gd name="connsiteY5" fmla="*/ 0 h 6867554"/>
              <a:gd name="connsiteX0" fmla="*/ 2083733 w 8948339"/>
              <a:gd name="connsiteY0" fmla="*/ 208 h 6867762"/>
              <a:gd name="connsiteX1" fmla="*/ 8948339 w 8948339"/>
              <a:gd name="connsiteY1" fmla="*/ 0 h 6867762"/>
              <a:gd name="connsiteX2" fmla="*/ 3388908 w 8948339"/>
              <a:gd name="connsiteY2" fmla="*/ 6862877 h 6867762"/>
              <a:gd name="connsiteX3" fmla="*/ 5505 w 8948339"/>
              <a:gd name="connsiteY3" fmla="*/ 6867762 h 6867762"/>
              <a:gd name="connsiteX4" fmla="*/ 0 w 8948339"/>
              <a:gd name="connsiteY4" fmla="*/ 5129478 h 6867762"/>
              <a:gd name="connsiteX5" fmla="*/ 2083733 w 8948339"/>
              <a:gd name="connsiteY5" fmla="*/ 208 h 68677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948339" h="6867762">
                <a:moveTo>
                  <a:pt x="2083733" y="208"/>
                </a:moveTo>
                <a:lnTo>
                  <a:pt x="8948339" y="0"/>
                </a:lnTo>
                <a:lnTo>
                  <a:pt x="3388908" y="6862877"/>
                </a:lnTo>
                <a:lnTo>
                  <a:pt x="5505" y="6867762"/>
                </a:lnTo>
                <a:cubicBezTo>
                  <a:pt x="5505" y="6488575"/>
                  <a:pt x="0" y="5508665"/>
                  <a:pt x="0" y="5129478"/>
                </a:cubicBezTo>
                <a:lnTo>
                  <a:pt x="2083733" y="208"/>
                </a:lnTo>
                <a:close/>
              </a:path>
            </a:pathLst>
          </a:custGeom>
          <a:solidFill>
            <a:srgbClr val="55575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1866737" y="3588760"/>
            <a:ext cx="6604000" cy="0"/>
          </a:xfrm>
          <a:prstGeom prst="line">
            <a:avLst/>
          </a:prstGeom>
          <a:ln w="12700" cmpd="sng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19"/>
          <p:cNvSpPr>
            <a:spLocks noGrp="1"/>
          </p:cNvSpPr>
          <p:nvPr>
            <p:ph type="body" sz="quarter" idx="18" hasCustomPrompt="1"/>
          </p:nvPr>
        </p:nvSpPr>
        <p:spPr>
          <a:xfrm>
            <a:off x="1866739" y="3692359"/>
            <a:ext cx="5576799" cy="343400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FontTx/>
              <a:buNone/>
              <a:defRPr sz="1600" cap="all">
                <a:solidFill>
                  <a:schemeClr val="accent2"/>
                </a:solidFill>
                <a:latin typeface="+mn-lt"/>
              </a:defRPr>
            </a:lvl1pPr>
          </a:lstStyle>
          <a:p>
            <a:r>
              <a:rPr lang="en-US" sz="1600" dirty="0"/>
              <a:t>Click to edit SUB TITLE</a:t>
            </a:r>
          </a:p>
        </p:txBody>
      </p:sp>
      <p:sp>
        <p:nvSpPr>
          <p:cNvPr id="13" name="Text Placeholder 23"/>
          <p:cNvSpPr>
            <a:spLocks noGrp="1"/>
          </p:cNvSpPr>
          <p:nvPr>
            <p:ph type="body" sz="quarter" idx="19"/>
          </p:nvPr>
        </p:nvSpPr>
        <p:spPr>
          <a:xfrm>
            <a:off x="1866740" y="3059449"/>
            <a:ext cx="6154313" cy="452437"/>
          </a:xfrm>
          <a:prstGeom prst="rect">
            <a:avLst/>
          </a:prstGeom>
        </p:spPr>
        <p:txBody>
          <a:bodyPr vert="horz" lIns="0" rIns="0" bIns="0" anchor="b"/>
          <a:lstStyle>
            <a:lvl1pPr marL="0" indent="0">
              <a:buFontTx/>
              <a:buNone/>
              <a:defRPr sz="2500" cap="all" baseline="0">
                <a:solidFill>
                  <a:schemeClr val="bg1"/>
                </a:solidFill>
                <a:latin typeface="+mj-lt"/>
              </a:defRPr>
            </a:lvl1pPr>
            <a:lvl2pPr marL="457178" indent="0">
              <a:buFontTx/>
              <a:buNone/>
              <a:defRPr sz="2400" cap="all" baseline="0">
                <a:solidFill>
                  <a:schemeClr val="bg1"/>
                </a:solidFill>
              </a:defRPr>
            </a:lvl2pPr>
            <a:lvl3pPr marL="914354" indent="0">
              <a:buFontTx/>
              <a:buNone/>
              <a:defRPr sz="2400" cap="all" baseline="0">
                <a:solidFill>
                  <a:schemeClr val="bg1"/>
                </a:solidFill>
              </a:defRPr>
            </a:lvl3pPr>
            <a:lvl4pPr marL="1371532" indent="0">
              <a:buFontTx/>
              <a:buNone/>
              <a:defRPr sz="2400" cap="all" baseline="0">
                <a:solidFill>
                  <a:schemeClr val="bg1"/>
                </a:solidFill>
              </a:defRPr>
            </a:lvl4pPr>
            <a:lvl5pPr marL="1828709" indent="0">
              <a:buFontTx/>
              <a:buNone/>
              <a:defRPr sz="2400" cap="all" baseline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179975" y="6197563"/>
            <a:ext cx="2658995" cy="343835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3" cstate="email">
            <a:duotone>
              <a:prstClr val="black"/>
              <a:srgbClr val="95D600">
                <a:tint val="45000"/>
                <a:satMod val="400000"/>
              </a:srgb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1935" y="-3993"/>
            <a:ext cx="2809700" cy="52326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63516616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orBlock_Title Slide -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1396" y="3692"/>
            <a:ext cx="12201685" cy="685430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2786486" y="3588760"/>
            <a:ext cx="9005617" cy="0"/>
          </a:xfrm>
          <a:prstGeom prst="line">
            <a:avLst/>
          </a:prstGeom>
          <a:ln w="12700" cmpd="sng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19"/>
          <p:cNvSpPr>
            <a:spLocks noGrp="1"/>
          </p:cNvSpPr>
          <p:nvPr>
            <p:ph type="body" sz="quarter" idx="18" hasCustomPrompt="1"/>
          </p:nvPr>
        </p:nvSpPr>
        <p:spPr>
          <a:xfrm>
            <a:off x="2786487" y="3692359"/>
            <a:ext cx="9005616" cy="343400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FontTx/>
              <a:buNone/>
              <a:defRPr sz="1600" cap="all">
                <a:solidFill>
                  <a:schemeClr val="accent2"/>
                </a:solidFill>
                <a:latin typeface="+mn-lt"/>
              </a:defRPr>
            </a:lvl1pPr>
          </a:lstStyle>
          <a:p>
            <a:r>
              <a:rPr lang="en-US" sz="1600" dirty="0"/>
              <a:t>Click to edit SUB TITLE</a:t>
            </a:r>
          </a:p>
        </p:txBody>
      </p:sp>
      <p:sp>
        <p:nvSpPr>
          <p:cNvPr id="13" name="Text Placeholder 23"/>
          <p:cNvSpPr>
            <a:spLocks noGrp="1"/>
          </p:cNvSpPr>
          <p:nvPr>
            <p:ph type="body" sz="quarter" idx="19"/>
          </p:nvPr>
        </p:nvSpPr>
        <p:spPr>
          <a:xfrm>
            <a:off x="2786487" y="3059449"/>
            <a:ext cx="9005616" cy="452437"/>
          </a:xfrm>
          <a:prstGeom prst="rect">
            <a:avLst/>
          </a:prstGeom>
        </p:spPr>
        <p:txBody>
          <a:bodyPr vert="horz" lIns="0" rIns="0" bIns="0" anchor="b"/>
          <a:lstStyle>
            <a:lvl1pPr marL="0" indent="0">
              <a:buFontTx/>
              <a:buNone/>
              <a:defRPr sz="2500" cap="all" baseline="0">
                <a:solidFill>
                  <a:schemeClr val="bg1"/>
                </a:solidFill>
                <a:latin typeface="+mj-lt"/>
              </a:defRPr>
            </a:lvl1pPr>
            <a:lvl2pPr marL="457178" indent="0">
              <a:buFontTx/>
              <a:buNone/>
              <a:defRPr sz="2400" cap="all" baseline="0">
                <a:solidFill>
                  <a:schemeClr val="bg1"/>
                </a:solidFill>
              </a:defRPr>
            </a:lvl2pPr>
            <a:lvl3pPr marL="914354" indent="0">
              <a:buFontTx/>
              <a:buNone/>
              <a:defRPr sz="2400" cap="all" baseline="0">
                <a:solidFill>
                  <a:schemeClr val="bg1"/>
                </a:solidFill>
              </a:defRPr>
            </a:lvl3pPr>
            <a:lvl4pPr marL="1371532" indent="0">
              <a:buFontTx/>
              <a:buNone/>
              <a:defRPr sz="2400" cap="all" baseline="0">
                <a:solidFill>
                  <a:schemeClr val="bg1"/>
                </a:solidFill>
              </a:defRPr>
            </a:lvl4pPr>
            <a:lvl5pPr marL="1828709" indent="0">
              <a:buFontTx/>
              <a:buNone/>
              <a:defRPr sz="2400" cap="all" baseline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Freeform 14"/>
          <p:cNvSpPr/>
          <p:nvPr userDrawn="1"/>
        </p:nvSpPr>
        <p:spPr>
          <a:xfrm>
            <a:off x="-8596" y="-3908"/>
            <a:ext cx="2781343" cy="5136220"/>
          </a:xfrm>
          <a:custGeom>
            <a:avLst/>
            <a:gdLst>
              <a:gd name="connsiteX0" fmla="*/ 0 w 1661746"/>
              <a:gd name="connsiteY0" fmla="*/ 0 h 4044462"/>
              <a:gd name="connsiteX1" fmla="*/ 1661746 w 1661746"/>
              <a:gd name="connsiteY1" fmla="*/ 0 h 4044462"/>
              <a:gd name="connsiteX2" fmla="*/ 17585 w 1661746"/>
              <a:gd name="connsiteY2" fmla="*/ 4044462 h 4044462"/>
              <a:gd name="connsiteX3" fmla="*/ 0 w 1661746"/>
              <a:gd name="connsiteY3" fmla="*/ 0 h 4044462"/>
              <a:gd name="connsiteX0" fmla="*/ 0 w 1661746"/>
              <a:gd name="connsiteY0" fmla="*/ 0 h 4039867"/>
              <a:gd name="connsiteX1" fmla="*/ 1661746 w 1661746"/>
              <a:gd name="connsiteY1" fmla="*/ 0 h 4039867"/>
              <a:gd name="connsiteX2" fmla="*/ 12990 w 1661746"/>
              <a:gd name="connsiteY2" fmla="*/ 4039867 h 4039867"/>
              <a:gd name="connsiteX3" fmla="*/ 0 w 1661746"/>
              <a:gd name="connsiteY3" fmla="*/ 0 h 4039867"/>
              <a:gd name="connsiteX0" fmla="*/ 170948 w 1648895"/>
              <a:gd name="connsiteY0" fmla="*/ 284889 h 4039867"/>
              <a:gd name="connsiteX1" fmla="*/ 1648895 w 1648895"/>
              <a:gd name="connsiteY1" fmla="*/ 0 h 4039867"/>
              <a:gd name="connsiteX2" fmla="*/ 139 w 1648895"/>
              <a:gd name="connsiteY2" fmla="*/ 4039867 h 4039867"/>
              <a:gd name="connsiteX3" fmla="*/ 170948 w 1648895"/>
              <a:gd name="connsiteY3" fmla="*/ 284889 h 4039867"/>
              <a:gd name="connsiteX0" fmla="*/ 170948 w 1653490"/>
              <a:gd name="connsiteY0" fmla="*/ 225154 h 3980132"/>
              <a:gd name="connsiteX1" fmla="*/ 1653490 w 1653490"/>
              <a:gd name="connsiteY1" fmla="*/ 0 h 3980132"/>
              <a:gd name="connsiteX2" fmla="*/ 139 w 1653490"/>
              <a:gd name="connsiteY2" fmla="*/ 3980132 h 3980132"/>
              <a:gd name="connsiteX3" fmla="*/ 170948 w 1653490"/>
              <a:gd name="connsiteY3" fmla="*/ 225154 h 3980132"/>
              <a:gd name="connsiteX0" fmla="*/ 170948 w 1658085"/>
              <a:gd name="connsiteY0" fmla="*/ 284889 h 4039867"/>
              <a:gd name="connsiteX1" fmla="*/ 1658085 w 1658085"/>
              <a:gd name="connsiteY1" fmla="*/ 0 h 4039867"/>
              <a:gd name="connsiteX2" fmla="*/ 139 w 1658085"/>
              <a:gd name="connsiteY2" fmla="*/ 4039867 h 4039867"/>
              <a:gd name="connsiteX3" fmla="*/ 170948 w 1658085"/>
              <a:gd name="connsiteY3" fmla="*/ 284889 h 4039867"/>
              <a:gd name="connsiteX0" fmla="*/ 0 w 1666341"/>
              <a:gd name="connsiteY0" fmla="*/ 4595 h 4039867"/>
              <a:gd name="connsiteX1" fmla="*/ 1666341 w 1666341"/>
              <a:gd name="connsiteY1" fmla="*/ 0 h 4039867"/>
              <a:gd name="connsiteX2" fmla="*/ 8395 w 1666341"/>
              <a:gd name="connsiteY2" fmla="*/ 4039867 h 4039867"/>
              <a:gd name="connsiteX3" fmla="*/ 0 w 1666341"/>
              <a:gd name="connsiteY3" fmla="*/ 4595 h 4039867"/>
              <a:gd name="connsiteX0" fmla="*/ 0 w 1666341"/>
              <a:gd name="connsiteY0" fmla="*/ 4595 h 4035272"/>
              <a:gd name="connsiteX1" fmla="*/ 1666341 w 1666341"/>
              <a:gd name="connsiteY1" fmla="*/ 0 h 4035272"/>
              <a:gd name="connsiteX2" fmla="*/ 8395 w 1666341"/>
              <a:gd name="connsiteY2" fmla="*/ 4035272 h 4035272"/>
              <a:gd name="connsiteX3" fmla="*/ 0 w 1666341"/>
              <a:gd name="connsiteY3" fmla="*/ 4595 h 4035272"/>
              <a:gd name="connsiteX0" fmla="*/ 56296 w 1658307"/>
              <a:gd name="connsiteY0" fmla="*/ 114874 h 4035272"/>
              <a:gd name="connsiteX1" fmla="*/ 1658307 w 1658307"/>
              <a:gd name="connsiteY1" fmla="*/ 0 h 4035272"/>
              <a:gd name="connsiteX2" fmla="*/ 361 w 1658307"/>
              <a:gd name="connsiteY2" fmla="*/ 4035272 h 4035272"/>
              <a:gd name="connsiteX3" fmla="*/ 56296 w 1658307"/>
              <a:gd name="connsiteY3" fmla="*/ 114874 h 4035272"/>
              <a:gd name="connsiteX0" fmla="*/ 2400 w 1659551"/>
              <a:gd name="connsiteY0" fmla="*/ 9190 h 4035272"/>
              <a:gd name="connsiteX1" fmla="*/ 1659551 w 1659551"/>
              <a:gd name="connsiteY1" fmla="*/ 0 h 4035272"/>
              <a:gd name="connsiteX2" fmla="*/ 1605 w 1659551"/>
              <a:gd name="connsiteY2" fmla="*/ 4035272 h 4035272"/>
              <a:gd name="connsiteX3" fmla="*/ 2400 w 1659551"/>
              <a:gd name="connsiteY3" fmla="*/ 9190 h 4035272"/>
              <a:gd name="connsiteX0" fmla="*/ 146 w 1659873"/>
              <a:gd name="connsiteY0" fmla="*/ 6614 h 4035272"/>
              <a:gd name="connsiteX1" fmla="*/ 1659873 w 1659873"/>
              <a:gd name="connsiteY1" fmla="*/ 0 h 4035272"/>
              <a:gd name="connsiteX2" fmla="*/ 1927 w 1659873"/>
              <a:gd name="connsiteY2" fmla="*/ 4035272 h 4035272"/>
              <a:gd name="connsiteX3" fmla="*/ 146 w 1659873"/>
              <a:gd name="connsiteY3" fmla="*/ 6614 h 4035272"/>
              <a:gd name="connsiteX0" fmla="*/ 146 w 1649570"/>
              <a:gd name="connsiteY0" fmla="*/ 0 h 4028658"/>
              <a:gd name="connsiteX1" fmla="*/ 1649570 w 1649570"/>
              <a:gd name="connsiteY1" fmla="*/ 11416 h 4028658"/>
              <a:gd name="connsiteX2" fmla="*/ 1927 w 1649570"/>
              <a:gd name="connsiteY2" fmla="*/ 4028658 h 4028658"/>
              <a:gd name="connsiteX3" fmla="*/ 146 w 1649570"/>
              <a:gd name="connsiteY3" fmla="*/ 0 h 4028658"/>
              <a:gd name="connsiteX0" fmla="*/ 57814 w 1647996"/>
              <a:gd name="connsiteY0" fmla="*/ 109645 h 4017242"/>
              <a:gd name="connsiteX1" fmla="*/ 1647996 w 1647996"/>
              <a:gd name="connsiteY1" fmla="*/ 0 h 4017242"/>
              <a:gd name="connsiteX2" fmla="*/ 353 w 1647996"/>
              <a:gd name="connsiteY2" fmla="*/ 4017242 h 4017242"/>
              <a:gd name="connsiteX3" fmla="*/ 57814 w 1647996"/>
              <a:gd name="connsiteY3" fmla="*/ 109645 h 4017242"/>
              <a:gd name="connsiteX0" fmla="*/ 52689 w 1648022"/>
              <a:gd name="connsiteY0" fmla="*/ 65857 h 4017242"/>
              <a:gd name="connsiteX1" fmla="*/ 1648022 w 1648022"/>
              <a:gd name="connsiteY1" fmla="*/ 0 h 4017242"/>
              <a:gd name="connsiteX2" fmla="*/ 379 w 1648022"/>
              <a:gd name="connsiteY2" fmla="*/ 4017242 h 4017242"/>
              <a:gd name="connsiteX3" fmla="*/ 52689 w 1648022"/>
              <a:gd name="connsiteY3" fmla="*/ 65857 h 4017242"/>
              <a:gd name="connsiteX0" fmla="*/ 9598 w 1648720"/>
              <a:gd name="connsiteY0" fmla="*/ 0 h 4020931"/>
              <a:gd name="connsiteX1" fmla="*/ 1648720 w 1648720"/>
              <a:gd name="connsiteY1" fmla="*/ 3689 h 4020931"/>
              <a:gd name="connsiteX2" fmla="*/ 1077 w 1648720"/>
              <a:gd name="connsiteY2" fmla="*/ 4020931 h 4020931"/>
              <a:gd name="connsiteX3" fmla="*/ 9598 w 1648720"/>
              <a:gd name="connsiteY3" fmla="*/ 0 h 4020931"/>
              <a:gd name="connsiteX0" fmla="*/ 12067 w 1651189"/>
              <a:gd name="connsiteY0" fmla="*/ 0 h 4023507"/>
              <a:gd name="connsiteX1" fmla="*/ 1651189 w 1651189"/>
              <a:gd name="connsiteY1" fmla="*/ 3689 h 4023507"/>
              <a:gd name="connsiteX2" fmla="*/ 971 w 1651189"/>
              <a:gd name="connsiteY2" fmla="*/ 4023507 h 4023507"/>
              <a:gd name="connsiteX3" fmla="*/ 12067 w 1651189"/>
              <a:gd name="connsiteY3" fmla="*/ 0 h 4023507"/>
              <a:gd name="connsiteX0" fmla="*/ 0 w 1639122"/>
              <a:gd name="connsiteY0" fmla="*/ 0 h 4023507"/>
              <a:gd name="connsiteX1" fmla="*/ 1639122 w 1639122"/>
              <a:gd name="connsiteY1" fmla="*/ 3689 h 4023507"/>
              <a:gd name="connsiteX2" fmla="*/ 6935 w 1639122"/>
              <a:gd name="connsiteY2" fmla="*/ 4023507 h 4023507"/>
              <a:gd name="connsiteX3" fmla="*/ 0 w 1639122"/>
              <a:gd name="connsiteY3" fmla="*/ 0 h 4023507"/>
              <a:gd name="connsiteX0" fmla="*/ 17059 w 1656181"/>
              <a:gd name="connsiteY0" fmla="*/ 0 h 4015780"/>
              <a:gd name="connsiteX1" fmla="*/ 1656181 w 1656181"/>
              <a:gd name="connsiteY1" fmla="*/ 3689 h 4015780"/>
              <a:gd name="connsiteX2" fmla="*/ 812 w 1656181"/>
              <a:gd name="connsiteY2" fmla="*/ 4015780 h 4015780"/>
              <a:gd name="connsiteX3" fmla="*/ 17059 w 1656181"/>
              <a:gd name="connsiteY3" fmla="*/ 0 h 4015780"/>
              <a:gd name="connsiteX0" fmla="*/ 0 w 1639122"/>
              <a:gd name="connsiteY0" fmla="*/ 0 h 3899870"/>
              <a:gd name="connsiteX1" fmla="*/ 1639122 w 1639122"/>
              <a:gd name="connsiteY1" fmla="*/ 3689 h 3899870"/>
              <a:gd name="connsiteX2" fmla="*/ 73905 w 1639122"/>
              <a:gd name="connsiteY2" fmla="*/ 3899870 h 3899870"/>
              <a:gd name="connsiteX3" fmla="*/ 0 w 1639122"/>
              <a:gd name="connsiteY3" fmla="*/ 0 h 3899870"/>
              <a:gd name="connsiteX0" fmla="*/ 0 w 1639122"/>
              <a:gd name="connsiteY0" fmla="*/ 0 h 3987447"/>
              <a:gd name="connsiteX1" fmla="*/ 1639122 w 1639122"/>
              <a:gd name="connsiteY1" fmla="*/ 3689 h 3987447"/>
              <a:gd name="connsiteX2" fmla="*/ 6935 w 1639122"/>
              <a:gd name="connsiteY2" fmla="*/ 3987447 h 3987447"/>
              <a:gd name="connsiteX3" fmla="*/ 0 w 1639122"/>
              <a:gd name="connsiteY3" fmla="*/ 0 h 3987447"/>
              <a:gd name="connsiteX0" fmla="*/ 144 w 1639266"/>
              <a:gd name="connsiteY0" fmla="*/ 0 h 3987447"/>
              <a:gd name="connsiteX1" fmla="*/ 1639266 w 1639266"/>
              <a:gd name="connsiteY1" fmla="*/ 3689 h 3987447"/>
              <a:gd name="connsiteX2" fmla="*/ 1927 w 1639266"/>
              <a:gd name="connsiteY2" fmla="*/ 3987447 h 3987447"/>
              <a:gd name="connsiteX3" fmla="*/ 144 w 1639266"/>
              <a:gd name="connsiteY3" fmla="*/ 0 h 3987447"/>
              <a:gd name="connsiteX0" fmla="*/ 2397 w 1641519"/>
              <a:gd name="connsiteY0" fmla="*/ 0 h 3995174"/>
              <a:gd name="connsiteX1" fmla="*/ 1641519 w 1641519"/>
              <a:gd name="connsiteY1" fmla="*/ 3689 h 3995174"/>
              <a:gd name="connsiteX2" fmla="*/ 1605 w 1641519"/>
              <a:gd name="connsiteY2" fmla="*/ 3995174 h 3995174"/>
              <a:gd name="connsiteX3" fmla="*/ 2397 w 1641519"/>
              <a:gd name="connsiteY3" fmla="*/ 0 h 3995174"/>
              <a:gd name="connsiteX0" fmla="*/ 9681 w 1648803"/>
              <a:gd name="connsiteY0" fmla="*/ 0 h 5116681"/>
              <a:gd name="connsiteX1" fmla="*/ 1648803 w 1648803"/>
              <a:gd name="connsiteY1" fmla="*/ 3689 h 5116681"/>
              <a:gd name="connsiteX2" fmla="*/ 1073 w 1648803"/>
              <a:gd name="connsiteY2" fmla="*/ 5116681 h 5116681"/>
              <a:gd name="connsiteX3" fmla="*/ 9681 w 1648803"/>
              <a:gd name="connsiteY3" fmla="*/ 0 h 5116681"/>
              <a:gd name="connsiteX0" fmla="*/ 9681 w 2078650"/>
              <a:gd name="connsiteY0" fmla="*/ 0 h 5116681"/>
              <a:gd name="connsiteX1" fmla="*/ 2078650 w 2078650"/>
              <a:gd name="connsiteY1" fmla="*/ 3689 h 5116681"/>
              <a:gd name="connsiteX2" fmla="*/ 1073 w 2078650"/>
              <a:gd name="connsiteY2" fmla="*/ 5116681 h 5116681"/>
              <a:gd name="connsiteX3" fmla="*/ 9681 w 2078650"/>
              <a:gd name="connsiteY3" fmla="*/ 0 h 5116681"/>
              <a:gd name="connsiteX0" fmla="*/ 5986 w 2078862"/>
              <a:gd name="connsiteY0" fmla="*/ 0 h 5120589"/>
              <a:gd name="connsiteX1" fmla="*/ 2078862 w 2078862"/>
              <a:gd name="connsiteY1" fmla="*/ 7597 h 5120589"/>
              <a:gd name="connsiteX2" fmla="*/ 1285 w 2078862"/>
              <a:gd name="connsiteY2" fmla="*/ 5120589 h 5120589"/>
              <a:gd name="connsiteX3" fmla="*/ 5986 w 2078862"/>
              <a:gd name="connsiteY3" fmla="*/ 0 h 5120589"/>
              <a:gd name="connsiteX0" fmla="*/ 2400 w 2075276"/>
              <a:gd name="connsiteY0" fmla="*/ 0 h 5108866"/>
              <a:gd name="connsiteX1" fmla="*/ 2075276 w 2075276"/>
              <a:gd name="connsiteY1" fmla="*/ 7597 h 5108866"/>
              <a:gd name="connsiteX2" fmla="*/ 1606 w 2075276"/>
              <a:gd name="connsiteY2" fmla="*/ 5108866 h 5108866"/>
              <a:gd name="connsiteX3" fmla="*/ 2400 w 2075276"/>
              <a:gd name="connsiteY3" fmla="*/ 0 h 5108866"/>
              <a:gd name="connsiteX0" fmla="*/ 5987 w 2078863"/>
              <a:gd name="connsiteY0" fmla="*/ 0 h 5136220"/>
              <a:gd name="connsiteX1" fmla="*/ 2078863 w 2078863"/>
              <a:gd name="connsiteY1" fmla="*/ 7597 h 5136220"/>
              <a:gd name="connsiteX2" fmla="*/ 1285 w 2078863"/>
              <a:gd name="connsiteY2" fmla="*/ 5136220 h 5136220"/>
              <a:gd name="connsiteX3" fmla="*/ 5987 w 2078863"/>
              <a:gd name="connsiteY3" fmla="*/ 0 h 5136220"/>
              <a:gd name="connsiteX0" fmla="*/ 5987 w 2086007"/>
              <a:gd name="connsiteY0" fmla="*/ 0 h 5136220"/>
              <a:gd name="connsiteX1" fmla="*/ 2086007 w 2086007"/>
              <a:gd name="connsiteY1" fmla="*/ 2835 h 5136220"/>
              <a:gd name="connsiteX2" fmla="*/ 1285 w 2086007"/>
              <a:gd name="connsiteY2" fmla="*/ 5136220 h 5136220"/>
              <a:gd name="connsiteX3" fmla="*/ 5987 w 2086007"/>
              <a:gd name="connsiteY3" fmla="*/ 0 h 51362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086007" h="5136220">
                <a:moveTo>
                  <a:pt x="5987" y="0"/>
                </a:moveTo>
                <a:lnTo>
                  <a:pt x="2086007" y="2835"/>
                </a:lnTo>
                <a:cubicBezTo>
                  <a:pt x="1539369" y="1333330"/>
                  <a:pt x="547923" y="3805725"/>
                  <a:pt x="1285" y="5136220"/>
                </a:cubicBezTo>
                <a:cubicBezTo>
                  <a:pt x="-4577" y="3790997"/>
                  <a:pt x="11849" y="1354016"/>
                  <a:pt x="5987" y="0"/>
                </a:cubicBezTo>
                <a:close/>
              </a:path>
            </a:pathLst>
          </a:custGeom>
          <a:gradFill>
            <a:gsLst>
              <a:gs pos="0">
                <a:srgbClr val="648C1A"/>
              </a:gs>
              <a:gs pos="100000">
                <a:schemeClr val="accent2"/>
              </a:gs>
            </a:gsLst>
            <a:lin ang="108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940800" y="6042893"/>
            <a:ext cx="3144520" cy="6547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50498734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Gray Bar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7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Palatino Linotype" pitchFamily="18" charset="0"/>
            </a:endParaRPr>
          </a:p>
        </p:txBody>
      </p:sp>
      <p:sp>
        <p:nvSpPr>
          <p:cNvPr id="4" name="Text Placeholder 18"/>
          <p:cNvSpPr txBox="1">
            <a:spLocks/>
          </p:cNvSpPr>
          <p:nvPr userDrawn="1"/>
        </p:nvSpPr>
        <p:spPr>
          <a:xfrm>
            <a:off x="412682" y="6370117"/>
            <a:ext cx="7770501" cy="205345"/>
          </a:xfrm>
          <a:prstGeom prst="rect">
            <a:avLst/>
          </a:prstGeom>
        </p:spPr>
        <p:txBody>
          <a:bodyPr vert="horz"/>
          <a:lstStyle>
            <a:lvl1pPr marL="0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 baseline="0">
                <a:solidFill>
                  <a:srgbClr val="898C8F"/>
                </a:solidFill>
                <a:latin typeface="+mj-lt"/>
                <a:ea typeface="+mn-ea"/>
                <a:cs typeface="+mn-cs"/>
              </a:defRPr>
            </a:lvl1pPr>
            <a:lvl2pPr marL="457178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2pPr>
            <a:lvl3pPr marL="914354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3pPr>
            <a:lvl4pPr marL="1371532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4pPr>
            <a:lvl5pPr marL="1828709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5pPr>
            <a:lvl6pPr marL="21748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6pPr>
            <a:lvl7pPr marL="26320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7pPr>
            <a:lvl8pPr marL="30892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8pPr>
            <a:lvl9pPr marL="35464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 sz="900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/ </a:t>
            </a:r>
            <a:r>
              <a:rPr lang="en-US" sz="900" kern="1200" cap="all" normalizeH="0" baseline="0" dirty="0">
                <a:solidFill>
                  <a:schemeClr val="accent1">
                    <a:lumMod val="60000"/>
                    <a:lumOff val="40000"/>
                  </a:schemeClr>
                </a:solidFill>
                <a:latin typeface="+mj-lt"/>
                <a:ea typeface="+mn-ea"/>
                <a:cs typeface="+mn-cs"/>
              </a:rPr>
              <a:t>©2019 </a:t>
            </a:r>
            <a:r>
              <a:rPr lang="en-US" sz="900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Navigant – A </a:t>
            </a:r>
            <a:r>
              <a:rPr lang="en-US" sz="900" dirty="0" err="1">
                <a:solidFill>
                  <a:schemeClr val="accent1">
                    <a:lumMod val="60000"/>
                    <a:lumOff val="40000"/>
                  </a:schemeClr>
                </a:solidFill>
              </a:rPr>
              <a:t>Guidehouse</a:t>
            </a:r>
            <a:r>
              <a:rPr lang="en-US" sz="900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 Company Consulting,</a:t>
            </a:r>
            <a:r>
              <a:rPr lang="en-US" sz="900" baseline="0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 Inc. All rights Reserved</a:t>
            </a:r>
            <a:endParaRPr lang="en-US" sz="900" dirty="0">
              <a:solidFill>
                <a:schemeClr val="accent1">
                  <a:lumMod val="60000"/>
                  <a:lumOff val="40000"/>
                </a:schemeClr>
              </a:solidFill>
            </a:endParaRPr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304802" y="6250077"/>
            <a:ext cx="11592985" cy="0"/>
          </a:xfrm>
          <a:prstGeom prst="line">
            <a:avLst/>
          </a:prstGeom>
          <a:ln w="9525">
            <a:solidFill>
              <a:srgbClr val="555759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Text Placeholder 18"/>
          <p:cNvSpPr txBox="1">
            <a:spLocks/>
          </p:cNvSpPr>
          <p:nvPr userDrawn="1"/>
        </p:nvSpPr>
        <p:spPr>
          <a:xfrm>
            <a:off x="182020" y="6365442"/>
            <a:ext cx="478315" cy="231169"/>
          </a:xfrm>
          <a:prstGeom prst="rect">
            <a:avLst/>
          </a:prstGeom>
        </p:spPr>
        <p:txBody>
          <a:bodyPr vert="horz"/>
          <a:lstStyle>
            <a:lvl1pPr marL="0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 baseline="0">
                <a:solidFill>
                  <a:srgbClr val="898C8F"/>
                </a:solidFill>
                <a:latin typeface="+mj-lt"/>
                <a:ea typeface="+mn-ea"/>
                <a:cs typeface="+mn-cs"/>
              </a:defRPr>
            </a:lvl1pPr>
            <a:lvl2pPr marL="457178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2pPr>
            <a:lvl3pPr marL="914354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3pPr>
            <a:lvl4pPr marL="1371532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4pPr>
            <a:lvl5pPr marL="1828709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5pPr>
            <a:lvl6pPr marL="21748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6pPr>
            <a:lvl7pPr marL="26320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7pPr>
            <a:lvl8pPr marL="30892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8pPr>
            <a:lvl9pPr marL="35464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l"/>
            <a:fld id="{C0D4A90D-707C-4CFA-8F87-17CF45DE2B45}" type="slidenum">
              <a:rPr lang="en-US" sz="900" smtClean="0">
                <a:solidFill>
                  <a:srgbClr val="95D600"/>
                </a:solidFill>
              </a:rPr>
              <a:pPr algn="l"/>
              <a:t>‹#›</a:t>
            </a:fld>
            <a:endParaRPr lang="en-US" sz="900" dirty="0"/>
          </a:p>
        </p:txBody>
      </p:sp>
      <p:cxnSp>
        <p:nvCxnSpPr>
          <p:cNvPr id="7" name="Straight Connector 6"/>
          <p:cNvCxnSpPr/>
          <p:nvPr userDrawn="1"/>
        </p:nvCxnSpPr>
        <p:spPr bwMode="auto">
          <a:xfrm flipH="1">
            <a:off x="0" y="6302465"/>
            <a:ext cx="12192000" cy="0"/>
          </a:xfrm>
          <a:prstGeom prst="line">
            <a:avLst/>
          </a:prstGeom>
          <a:solidFill>
            <a:schemeClr val="accent1"/>
          </a:solidFill>
          <a:ln w="19050" cap="flat" cmpd="dbl" algn="ctr">
            <a:noFill/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07280" y="6400190"/>
            <a:ext cx="1303209" cy="168518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auto">
          <a:xfrm>
            <a:off x="0" y="0"/>
            <a:ext cx="12192000" cy="1074396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Palatino Linotype" pitchFamily="18" charset="0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287453" y="1"/>
            <a:ext cx="11623035" cy="1011420"/>
          </a:xfrm>
          <a:prstGeom prst="rect">
            <a:avLst/>
          </a:prstGeom>
        </p:spPr>
        <p:txBody>
          <a:bodyPr anchor="b"/>
          <a:lstStyle>
            <a:lvl1pPr>
              <a:defRPr sz="2200" cap="all" baseline="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2" name="Rectangle 11"/>
          <p:cNvSpPr/>
          <p:nvPr userDrawn="1"/>
        </p:nvSpPr>
        <p:spPr bwMode="auto">
          <a:xfrm>
            <a:off x="0" y="1074396"/>
            <a:ext cx="12192000" cy="151354"/>
          </a:xfrm>
          <a:prstGeom prst="rect">
            <a:avLst/>
          </a:prstGeom>
          <a:solidFill>
            <a:schemeClr val="accent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Palatino Linotype" pitchFamily="18" charset="0"/>
            </a:endParaRPr>
          </a:p>
        </p:txBody>
      </p:sp>
      <p:sp>
        <p:nvSpPr>
          <p:cNvPr id="13" name="Rectangle 14"/>
          <p:cNvSpPr>
            <a:spLocks noGrp="1" noChangeArrowheads="1"/>
          </p:cNvSpPr>
          <p:nvPr>
            <p:ph idx="1"/>
          </p:nvPr>
        </p:nvSpPr>
        <p:spPr bwMode="auto">
          <a:xfrm>
            <a:off x="287453" y="1403684"/>
            <a:ext cx="11623035" cy="47653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sz="14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553900443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ivider -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6096007" y="1"/>
            <a:ext cx="6095999" cy="685713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18" name="Rectangle 17"/>
          <p:cNvSpPr/>
          <p:nvPr userDrawn="1"/>
        </p:nvSpPr>
        <p:spPr>
          <a:xfrm>
            <a:off x="1" y="866"/>
            <a:ext cx="6096000" cy="6857135"/>
          </a:xfrm>
          <a:prstGeom prst="rect">
            <a:avLst/>
          </a:prstGeom>
          <a:solidFill>
            <a:srgbClr val="5C5C5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19" name="Text Placeholder 23"/>
          <p:cNvSpPr>
            <a:spLocks noGrp="1"/>
          </p:cNvSpPr>
          <p:nvPr>
            <p:ph type="body" sz="quarter" idx="12" hasCustomPrompt="1"/>
          </p:nvPr>
        </p:nvSpPr>
        <p:spPr>
          <a:xfrm>
            <a:off x="8947053" y="858420"/>
            <a:ext cx="2963436" cy="4842504"/>
          </a:xfrm>
          <a:prstGeom prst="rect">
            <a:avLst/>
          </a:prstGeom>
        </p:spPr>
        <p:txBody>
          <a:bodyPr vert="horz" lIns="0" rIns="0" bIns="0" anchor="ctr"/>
          <a:lstStyle>
            <a:lvl1pPr marL="0" indent="0">
              <a:buFontTx/>
              <a:buNone/>
              <a:defRPr sz="2000" cap="all" baseline="0">
                <a:solidFill>
                  <a:srgbClr val="555759"/>
                </a:solidFill>
              </a:defRPr>
            </a:lvl1pPr>
            <a:lvl2pPr marL="457178" indent="0">
              <a:buFontTx/>
              <a:buNone/>
              <a:defRPr sz="2400" cap="all" baseline="0">
                <a:solidFill>
                  <a:schemeClr val="bg1"/>
                </a:solidFill>
              </a:defRPr>
            </a:lvl2pPr>
            <a:lvl3pPr marL="914354" indent="0">
              <a:buFontTx/>
              <a:buNone/>
              <a:defRPr sz="2400" cap="all" baseline="0">
                <a:solidFill>
                  <a:schemeClr val="bg1"/>
                </a:solidFill>
              </a:defRPr>
            </a:lvl3pPr>
            <a:lvl4pPr marL="1371532" indent="0">
              <a:buFontTx/>
              <a:buNone/>
              <a:defRPr sz="2400" cap="all" baseline="0">
                <a:solidFill>
                  <a:schemeClr val="bg1"/>
                </a:solidFill>
              </a:defRPr>
            </a:lvl4pPr>
            <a:lvl5pPr marL="1828709" indent="0">
              <a:buFontTx/>
              <a:buNone/>
              <a:defRPr sz="2400" cap="all" baseline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DIVIDER SLIDE</a:t>
            </a:r>
          </a:p>
          <a:p>
            <a:pPr lvl="0"/>
            <a:r>
              <a:rPr lang="en-US" dirty="0"/>
              <a:t>OPTIONAL TEXT</a:t>
            </a:r>
          </a:p>
        </p:txBody>
      </p:sp>
      <p:pic>
        <p:nvPicPr>
          <p:cNvPr id="21" name="Picture 20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472526" y="858420"/>
            <a:ext cx="5246949" cy="4842504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07280" y="6396705"/>
            <a:ext cx="1303209" cy="168678"/>
          </a:xfrm>
          <a:prstGeom prst="rect">
            <a:avLst/>
          </a:prstGeom>
        </p:spPr>
      </p:pic>
      <p:sp>
        <p:nvSpPr>
          <p:cNvPr id="8" name="TextBox 7"/>
          <p:cNvSpPr txBox="1"/>
          <p:nvPr userDrawn="1"/>
        </p:nvSpPr>
        <p:spPr>
          <a:xfrm>
            <a:off x="-11935" y="6396704"/>
            <a:ext cx="6107936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900" i="1" dirty="0">
                <a:solidFill>
                  <a:srgbClr val="555759">
                    <a:lumMod val="60000"/>
                    <a:lumOff val="40000"/>
                  </a:srgbClr>
                </a:solidFill>
              </a:rPr>
              <a:t>Confidential and Proprietary</a:t>
            </a:r>
          </a:p>
        </p:txBody>
      </p:sp>
    </p:spTree>
    <p:extLst>
      <p:ext uri="{BB962C8B-B14F-4D97-AF65-F5344CB8AC3E}">
        <p14:creationId xmlns:p14="http://schemas.microsoft.com/office/powerpoint/2010/main" val="32055226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1396" y="3692"/>
            <a:ext cx="12201685" cy="685430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solidFill>
                <a:srgbClr val="FFFFFF"/>
              </a:solidFill>
            </a:endParaRPr>
          </a:p>
        </p:txBody>
      </p:sp>
      <p:sp>
        <p:nvSpPr>
          <p:cNvPr id="9" name="Freeform 8"/>
          <p:cNvSpPr/>
          <p:nvPr userDrawn="1"/>
        </p:nvSpPr>
        <p:spPr>
          <a:xfrm>
            <a:off x="-11936" y="-3148"/>
            <a:ext cx="11931119" cy="6867762"/>
          </a:xfrm>
          <a:custGeom>
            <a:avLst/>
            <a:gdLst>
              <a:gd name="connsiteX0" fmla="*/ 1643975 w 8501975"/>
              <a:gd name="connsiteY0" fmla="*/ 0 h 5175115"/>
              <a:gd name="connsiteX1" fmla="*/ 8501975 w 8501975"/>
              <a:gd name="connsiteY1" fmla="*/ 19455 h 5175115"/>
              <a:gd name="connsiteX2" fmla="*/ 4289898 w 8501975"/>
              <a:gd name="connsiteY2" fmla="*/ 5175115 h 5175115"/>
              <a:gd name="connsiteX3" fmla="*/ 0 w 8501975"/>
              <a:gd name="connsiteY3" fmla="*/ 5175115 h 5175115"/>
              <a:gd name="connsiteX4" fmla="*/ 0 w 8501975"/>
              <a:gd name="connsiteY4" fmla="*/ 4027251 h 5175115"/>
              <a:gd name="connsiteX5" fmla="*/ 1643975 w 8501975"/>
              <a:gd name="connsiteY5" fmla="*/ 0 h 5175115"/>
              <a:gd name="connsiteX0" fmla="*/ 1649126 w 8507126"/>
              <a:gd name="connsiteY0" fmla="*/ 0 h 5175115"/>
              <a:gd name="connsiteX1" fmla="*/ 8507126 w 8507126"/>
              <a:gd name="connsiteY1" fmla="*/ 19455 h 5175115"/>
              <a:gd name="connsiteX2" fmla="*/ 4295049 w 8507126"/>
              <a:gd name="connsiteY2" fmla="*/ 5175115 h 5175115"/>
              <a:gd name="connsiteX3" fmla="*/ 5151 w 8507126"/>
              <a:gd name="connsiteY3" fmla="*/ 5175115 h 5175115"/>
              <a:gd name="connsiteX4" fmla="*/ 0 w 8507126"/>
              <a:gd name="connsiteY4" fmla="*/ 4037554 h 5175115"/>
              <a:gd name="connsiteX5" fmla="*/ 1649126 w 8507126"/>
              <a:gd name="connsiteY5" fmla="*/ 0 h 5175115"/>
              <a:gd name="connsiteX0" fmla="*/ 1649127 w 8507127"/>
              <a:gd name="connsiteY0" fmla="*/ 0 h 5175115"/>
              <a:gd name="connsiteX1" fmla="*/ 8507127 w 8507127"/>
              <a:gd name="connsiteY1" fmla="*/ 19455 h 5175115"/>
              <a:gd name="connsiteX2" fmla="*/ 4295050 w 8507127"/>
              <a:gd name="connsiteY2" fmla="*/ 5175115 h 5175115"/>
              <a:gd name="connsiteX3" fmla="*/ 0 w 8507127"/>
              <a:gd name="connsiteY3" fmla="*/ 5175115 h 5175115"/>
              <a:gd name="connsiteX4" fmla="*/ 1 w 8507127"/>
              <a:gd name="connsiteY4" fmla="*/ 4037554 h 5175115"/>
              <a:gd name="connsiteX5" fmla="*/ 1649127 w 8507127"/>
              <a:gd name="connsiteY5" fmla="*/ 0 h 5175115"/>
              <a:gd name="connsiteX0" fmla="*/ 1690339 w 8507127"/>
              <a:gd name="connsiteY0" fmla="*/ 34637 h 5155660"/>
              <a:gd name="connsiteX1" fmla="*/ 8507127 w 8507127"/>
              <a:gd name="connsiteY1" fmla="*/ 0 h 5155660"/>
              <a:gd name="connsiteX2" fmla="*/ 4295050 w 8507127"/>
              <a:gd name="connsiteY2" fmla="*/ 5155660 h 5155660"/>
              <a:gd name="connsiteX3" fmla="*/ 0 w 8507127"/>
              <a:gd name="connsiteY3" fmla="*/ 5155660 h 5155660"/>
              <a:gd name="connsiteX4" fmla="*/ 1 w 8507127"/>
              <a:gd name="connsiteY4" fmla="*/ 4018099 h 5155660"/>
              <a:gd name="connsiteX5" fmla="*/ 1690339 w 8507127"/>
              <a:gd name="connsiteY5" fmla="*/ 34637 h 5155660"/>
              <a:gd name="connsiteX0" fmla="*/ 1651702 w 8507127"/>
              <a:gd name="connsiteY0" fmla="*/ 0 h 5157084"/>
              <a:gd name="connsiteX1" fmla="*/ 8507127 w 8507127"/>
              <a:gd name="connsiteY1" fmla="*/ 1424 h 5157084"/>
              <a:gd name="connsiteX2" fmla="*/ 4295050 w 8507127"/>
              <a:gd name="connsiteY2" fmla="*/ 5157084 h 5157084"/>
              <a:gd name="connsiteX3" fmla="*/ 0 w 8507127"/>
              <a:gd name="connsiteY3" fmla="*/ 5157084 h 5157084"/>
              <a:gd name="connsiteX4" fmla="*/ 1 w 8507127"/>
              <a:gd name="connsiteY4" fmla="*/ 4019523 h 5157084"/>
              <a:gd name="connsiteX5" fmla="*/ 1651702 w 8507127"/>
              <a:gd name="connsiteY5" fmla="*/ 0 h 5157084"/>
              <a:gd name="connsiteX0" fmla="*/ 1651702 w 8507127"/>
              <a:gd name="connsiteY0" fmla="*/ 0 h 5157084"/>
              <a:gd name="connsiteX1" fmla="*/ 8507127 w 8507127"/>
              <a:gd name="connsiteY1" fmla="*/ 1424 h 5157084"/>
              <a:gd name="connsiteX2" fmla="*/ 4295050 w 8507127"/>
              <a:gd name="connsiteY2" fmla="*/ 5157084 h 5157084"/>
              <a:gd name="connsiteX3" fmla="*/ 0 w 8507127"/>
              <a:gd name="connsiteY3" fmla="*/ 5157084 h 5157084"/>
              <a:gd name="connsiteX4" fmla="*/ 46365 w 8507127"/>
              <a:gd name="connsiteY4" fmla="*/ 4006644 h 5157084"/>
              <a:gd name="connsiteX5" fmla="*/ 1651702 w 8507127"/>
              <a:gd name="connsiteY5" fmla="*/ 0 h 5157084"/>
              <a:gd name="connsiteX0" fmla="*/ 1651702 w 8507127"/>
              <a:gd name="connsiteY0" fmla="*/ 0 h 5157084"/>
              <a:gd name="connsiteX1" fmla="*/ 8507127 w 8507127"/>
              <a:gd name="connsiteY1" fmla="*/ 1424 h 5157084"/>
              <a:gd name="connsiteX2" fmla="*/ 4295050 w 8507127"/>
              <a:gd name="connsiteY2" fmla="*/ 5157084 h 5157084"/>
              <a:gd name="connsiteX3" fmla="*/ 0 w 8507127"/>
              <a:gd name="connsiteY3" fmla="*/ 5157084 h 5157084"/>
              <a:gd name="connsiteX4" fmla="*/ 15455 w 8507127"/>
              <a:gd name="connsiteY4" fmla="*/ 3973159 h 5157084"/>
              <a:gd name="connsiteX5" fmla="*/ 1651702 w 8507127"/>
              <a:gd name="connsiteY5" fmla="*/ 0 h 5157084"/>
              <a:gd name="connsiteX0" fmla="*/ 1636247 w 8491672"/>
              <a:gd name="connsiteY0" fmla="*/ 0 h 5157084"/>
              <a:gd name="connsiteX1" fmla="*/ 8491672 w 8491672"/>
              <a:gd name="connsiteY1" fmla="*/ 1424 h 5157084"/>
              <a:gd name="connsiteX2" fmla="*/ 4279595 w 8491672"/>
              <a:gd name="connsiteY2" fmla="*/ 5157084 h 5157084"/>
              <a:gd name="connsiteX3" fmla="*/ 64394 w 8491672"/>
              <a:gd name="connsiteY3" fmla="*/ 5157084 h 5157084"/>
              <a:gd name="connsiteX4" fmla="*/ 0 w 8491672"/>
              <a:gd name="connsiteY4" fmla="*/ 3973159 h 5157084"/>
              <a:gd name="connsiteX5" fmla="*/ 1636247 w 8491672"/>
              <a:gd name="connsiteY5" fmla="*/ 0 h 5157084"/>
              <a:gd name="connsiteX0" fmla="*/ 1638823 w 8494248"/>
              <a:gd name="connsiteY0" fmla="*/ 0 h 5157084"/>
              <a:gd name="connsiteX1" fmla="*/ 8494248 w 8494248"/>
              <a:gd name="connsiteY1" fmla="*/ 1424 h 5157084"/>
              <a:gd name="connsiteX2" fmla="*/ 4282171 w 8494248"/>
              <a:gd name="connsiteY2" fmla="*/ 5157084 h 5157084"/>
              <a:gd name="connsiteX3" fmla="*/ 0 w 8494248"/>
              <a:gd name="connsiteY3" fmla="*/ 5157084 h 5157084"/>
              <a:gd name="connsiteX4" fmla="*/ 2576 w 8494248"/>
              <a:gd name="connsiteY4" fmla="*/ 3973159 h 5157084"/>
              <a:gd name="connsiteX5" fmla="*/ 1638823 w 8494248"/>
              <a:gd name="connsiteY5" fmla="*/ 0 h 5157084"/>
              <a:gd name="connsiteX0" fmla="*/ 1638823 w 8494248"/>
              <a:gd name="connsiteY0" fmla="*/ 0 h 5157084"/>
              <a:gd name="connsiteX1" fmla="*/ 8494248 w 8494248"/>
              <a:gd name="connsiteY1" fmla="*/ 1424 h 5157084"/>
              <a:gd name="connsiteX2" fmla="*/ 4282171 w 8494248"/>
              <a:gd name="connsiteY2" fmla="*/ 5157084 h 5157084"/>
              <a:gd name="connsiteX3" fmla="*/ 0 w 8494248"/>
              <a:gd name="connsiteY3" fmla="*/ 5157084 h 5157084"/>
              <a:gd name="connsiteX4" fmla="*/ 38637 w 8494248"/>
              <a:gd name="connsiteY4" fmla="*/ 4029826 h 5157084"/>
              <a:gd name="connsiteX5" fmla="*/ 1638823 w 8494248"/>
              <a:gd name="connsiteY5" fmla="*/ 0 h 5157084"/>
              <a:gd name="connsiteX0" fmla="*/ 1641398 w 8496823"/>
              <a:gd name="connsiteY0" fmla="*/ 0 h 5157084"/>
              <a:gd name="connsiteX1" fmla="*/ 8496823 w 8496823"/>
              <a:gd name="connsiteY1" fmla="*/ 1424 h 5157084"/>
              <a:gd name="connsiteX2" fmla="*/ 4284746 w 8496823"/>
              <a:gd name="connsiteY2" fmla="*/ 5157084 h 5157084"/>
              <a:gd name="connsiteX3" fmla="*/ 2575 w 8496823"/>
              <a:gd name="connsiteY3" fmla="*/ 5157084 h 5157084"/>
              <a:gd name="connsiteX4" fmla="*/ 0 w 8496823"/>
              <a:gd name="connsiteY4" fmla="*/ 3983462 h 5157084"/>
              <a:gd name="connsiteX5" fmla="*/ 1641398 w 8496823"/>
              <a:gd name="connsiteY5" fmla="*/ 0 h 5157084"/>
              <a:gd name="connsiteX0" fmla="*/ 1638256 w 8496823"/>
              <a:gd name="connsiteY0" fmla="*/ 0 h 5157084"/>
              <a:gd name="connsiteX1" fmla="*/ 8496823 w 8496823"/>
              <a:gd name="connsiteY1" fmla="*/ 1424 h 5157084"/>
              <a:gd name="connsiteX2" fmla="*/ 4284746 w 8496823"/>
              <a:gd name="connsiteY2" fmla="*/ 5157084 h 5157084"/>
              <a:gd name="connsiteX3" fmla="*/ 2575 w 8496823"/>
              <a:gd name="connsiteY3" fmla="*/ 5157084 h 5157084"/>
              <a:gd name="connsiteX4" fmla="*/ 0 w 8496823"/>
              <a:gd name="connsiteY4" fmla="*/ 3983462 h 5157084"/>
              <a:gd name="connsiteX5" fmla="*/ 1638256 w 8496823"/>
              <a:gd name="connsiteY5" fmla="*/ 0 h 5157084"/>
              <a:gd name="connsiteX0" fmla="*/ 1638256 w 8496823"/>
              <a:gd name="connsiteY0" fmla="*/ 0 h 6846184"/>
              <a:gd name="connsiteX1" fmla="*/ 8496823 w 8496823"/>
              <a:gd name="connsiteY1" fmla="*/ 1424 h 6846184"/>
              <a:gd name="connsiteX2" fmla="*/ 2900446 w 8496823"/>
              <a:gd name="connsiteY2" fmla="*/ 6846184 h 6846184"/>
              <a:gd name="connsiteX3" fmla="*/ 2575 w 8496823"/>
              <a:gd name="connsiteY3" fmla="*/ 5157084 h 6846184"/>
              <a:gd name="connsiteX4" fmla="*/ 0 w 8496823"/>
              <a:gd name="connsiteY4" fmla="*/ 3983462 h 6846184"/>
              <a:gd name="connsiteX5" fmla="*/ 1638256 w 8496823"/>
              <a:gd name="connsiteY5" fmla="*/ 0 h 6846184"/>
              <a:gd name="connsiteX0" fmla="*/ 1648381 w 8506948"/>
              <a:gd name="connsiteY0" fmla="*/ 0 h 6858884"/>
              <a:gd name="connsiteX1" fmla="*/ 8506948 w 8506948"/>
              <a:gd name="connsiteY1" fmla="*/ 1424 h 6858884"/>
              <a:gd name="connsiteX2" fmla="*/ 2910571 w 8506948"/>
              <a:gd name="connsiteY2" fmla="*/ 6846184 h 6858884"/>
              <a:gd name="connsiteX3" fmla="*/ 0 w 8506948"/>
              <a:gd name="connsiteY3" fmla="*/ 6858884 h 6858884"/>
              <a:gd name="connsiteX4" fmla="*/ 10125 w 8506948"/>
              <a:gd name="connsiteY4" fmla="*/ 3983462 h 6858884"/>
              <a:gd name="connsiteX5" fmla="*/ 1648381 w 8506948"/>
              <a:gd name="connsiteY5" fmla="*/ 0 h 6858884"/>
              <a:gd name="connsiteX0" fmla="*/ 1597581 w 8506948"/>
              <a:gd name="connsiteY0" fmla="*/ 0 h 6858884"/>
              <a:gd name="connsiteX1" fmla="*/ 8506948 w 8506948"/>
              <a:gd name="connsiteY1" fmla="*/ 1424 h 6858884"/>
              <a:gd name="connsiteX2" fmla="*/ 2910571 w 8506948"/>
              <a:gd name="connsiteY2" fmla="*/ 6846184 h 6858884"/>
              <a:gd name="connsiteX3" fmla="*/ 0 w 8506948"/>
              <a:gd name="connsiteY3" fmla="*/ 6858884 h 6858884"/>
              <a:gd name="connsiteX4" fmla="*/ 10125 w 8506948"/>
              <a:gd name="connsiteY4" fmla="*/ 3983462 h 6858884"/>
              <a:gd name="connsiteX5" fmla="*/ 1597581 w 8506948"/>
              <a:gd name="connsiteY5" fmla="*/ 0 h 6858884"/>
              <a:gd name="connsiteX0" fmla="*/ 2083733 w 8993100"/>
              <a:gd name="connsiteY0" fmla="*/ 0 h 6858884"/>
              <a:gd name="connsiteX1" fmla="*/ 8993100 w 8993100"/>
              <a:gd name="connsiteY1" fmla="*/ 1424 h 6858884"/>
              <a:gd name="connsiteX2" fmla="*/ 3396723 w 8993100"/>
              <a:gd name="connsiteY2" fmla="*/ 6846184 h 6858884"/>
              <a:gd name="connsiteX3" fmla="*/ 486152 w 8993100"/>
              <a:gd name="connsiteY3" fmla="*/ 6858884 h 6858884"/>
              <a:gd name="connsiteX4" fmla="*/ 0 w 8993100"/>
              <a:gd name="connsiteY4" fmla="*/ 5136231 h 6858884"/>
              <a:gd name="connsiteX5" fmla="*/ 2083733 w 8993100"/>
              <a:gd name="connsiteY5" fmla="*/ 0 h 6858884"/>
              <a:gd name="connsiteX0" fmla="*/ 2083733 w 8993100"/>
              <a:gd name="connsiteY0" fmla="*/ 0 h 6862792"/>
              <a:gd name="connsiteX1" fmla="*/ 8993100 w 8993100"/>
              <a:gd name="connsiteY1" fmla="*/ 1424 h 6862792"/>
              <a:gd name="connsiteX2" fmla="*/ 3396723 w 8993100"/>
              <a:gd name="connsiteY2" fmla="*/ 6846184 h 6862792"/>
              <a:gd name="connsiteX3" fmla="*/ 9413 w 8993100"/>
              <a:gd name="connsiteY3" fmla="*/ 6862792 h 6862792"/>
              <a:gd name="connsiteX4" fmla="*/ 0 w 8993100"/>
              <a:gd name="connsiteY4" fmla="*/ 5136231 h 6862792"/>
              <a:gd name="connsiteX5" fmla="*/ 2083733 w 8993100"/>
              <a:gd name="connsiteY5" fmla="*/ 0 h 6862792"/>
              <a:gd name="connsiteX0" fmla="*/ 2083733 w 8993100"/>
              <a:gd name="connsiteY0" fmla="*/ 0 h 6862792"/>
              <a:gd name="connsiteX1" fmla="*/ 8993100 w 8993100"/>
              <a:gd name="connsiteY1" fmla="*/ 1424 h 6862792"/>
              <a:gd name="connsiteX2" fmla="*/ 3396723 w 8993100"/>
              <a:gd name="connsiteY2" fmla="*/ 6846184 h 6862792"/>
              <a:gd name="connsiteX3" fmla="*/ 9413 w 8993100"/>
              <a:gd name="connsiteY3" fmla="*/ 6862792 h 6862792"/>
              <a:gd name="connsiteX4" fmla="*/ 0 w 8993100"/>
              <a:gd name="connsiteY4" fmla="*/ 5124508 h 6862792"/>
              <a:gd name="connsiteX5" fmla="*/ 2083733 w 8993100"/>
              <a:gd name="connsiteY5" fmla="*/ 0 h 6862792"/>
              <a:gd name="connsiteX0" fmla="*/ 2083733 w 8993100"/>
              <a:gd name="connsiteY0" fmla="*/ 0 h 6862792"/>
              <a:gd name="connsiteX1" fmla="*/ 8993100 w 8993100"/>
              <a:gd name="connsiteY1" fmla="*/ 1424 h 6862792"/>
              <a:gd name="connsiteX2" fmla="*/ 3388908 w 8993100"/>
              <a:gd name="connsiteY2" fmla="*/ 6857907 h 6862792"/>
              <a:gd name="connsiteX3" fmla="*/ 9413 w 8993100"/>
              <a:gd name="connsiteY3" fmla="*/ 6862792 h 6862792"/>
              <a:gd name="connsiteX4" fmla="*/ 0 w 8993100"/>
              <a:gd name="connsiteY4" fmla="*/ 5124508 h 6862792"/>
              <a:gd name="connsiteX5" fmla="*/ 2083733 w 8993100"/>
              <a:gd name="connsiteY5" fmla="*/ 0 h 6862792"/>
              <a:gd name="connsiteX0" fmla="*/ 2083733 w 8993100"/>
              <a:gd name="connsiteY0" fmla="*/ 0 h 6862792"/>
              <a:gd name="connsiteX1" fmla="*/ 8993100 w 8993100"/>
              <a:gd name="connsiteY1" fmla="*/ 1424 h 6862792"/>
              <a:gd name="connsiteX2" fmla="*/ 3388908 w 8993100"/>
              <a:gd name="connsiteY2" fmla="*/ 6857907 h 6862792"/>
              <a:gd name="connsiteX3" fmla="*/ 9413 w 8993100"/>
              <a:gd name="connsiteY3" fmla="*/ 6862792 h 6862792"/>
              <a:gd name="connsiteX4" fmla="*/ 0 w 8993100"/>
              <a:gd name="connsiteY4" fmla="*/ 5124508 h 6862792"/>
              <a:gd name="connsiteX5" fmla="*/ 2083733 w 8993100"/>
              <a:gd name="connsiteY5" fmla="*/ 0 h 6862792"/>
              <a:gd name="connsiteX0" fmla="*/ 2083733 w 8993100"/>
              <a:gd name="connsiteY0" fmla="*/ 0 h 6857907"/>
              <a:gd name="connsiteX1" fmla="*/ 8993100 w 8993100"/>
              <a:gd name="connsiteY1" fmla="*/ 1424 h 6857907"/>
              <a:gd name="connsiteX2" fmla="*/ 3388908 w 8993100"/>
              <a:gd name="connsiteY2" fmla="*/ 6857907 h 6857907"/>
              <a:gd name="connsiteX3" fmla="*/ 99290 w 8993100"/>
              <a:gd name="connsiteY3" fmla="*/ 6851069 h 6857907"/>
              <a:gd name="connsiteX4" fmla="*/ 0 w 8993100"/>
              <a:gd name="connsiteY4" fmla="*/ 5124508 h 6857907"/>
              <a:gd name="connsiteX5" fmla="*/ 2083733 w 8993100"/>
              <a:gd name="connsiteY5" fmla="*/ 0 h 6857907"/>
              <a:gd name="connsiteX0" fmla="*/ 2083733 w 8993100"/>
              <a:gd name="connsiteY0" fmla="*/ 0 h 6862792"/>
              <a:gd name="connsiteX1" fmla="*/ 8993100 w 8993100"/>
              <a:gd name="connsiteY1" fmla="*/ 1424 h 6862792"/>
              <a:gd name="connsiteX2" fmla="*/ 3388908 w 8993100"/>
              <a:gd name="connsiteY2" fmla="*/ 6857907 h 6862792"/>
              <a:gd name="connsiteX3" fmla="*/ 5505 w 8993100"/>
              <a:gd name="connsiteY3" fmla="*/ 6862792 h 6862792"/>
              <a:gd name="connsiteX4" fmla="*/ 0 w 8993100"/>
              <a:gd name="connsiteY4" fmla="*/ 5124508 h 6862792"/>
              <a:gd name="connsiteX5" fmla="*/ 2083733 w 8993100"/>
              <a:gd name="connsiteY5" fmla="*/ 0 h 6862792"/>
              <a:gd name="connsiteX0" fmla="*/ 2083733 w 8993100"/>
              <a:gd name="connsiteY0" fmla="*/ 0 h 6867554"/>
              <a:gd name="connsiteX1" fmla="*/ 8993100 w 8993100"/>
              <a:gd name="connsiteY1" fmla="*/ 6186 h 6867554"/>
              <a:gd name="connsiteX2" fmla="*/ 3388908 w 8993100"/>
              <a:gd name="connsiteY2" fmla="*/ 6862669 h 6867554"/>
              <a:gd name="connsiteX3" fmla="*/ 5505 w 8993100"/>
              <a:gd name="connsiteY3" fmla="*/ 6867554 h 6867554"/>
              <a:gd name="connsiteX4" fmla="*/ 0 w 8993100"/>
              <a:gd name="connsiteY4" fmla="*/ 5129270 h 6867554"/>
              <a:gd name="connsiteX5" fmla="*/ 2083733 w 8993100"/>
              <a:gd name="connsiteY5" fmla="*/ 0 h 6867554"/>
              <a:gd name="connsiteX0" fmla="*/ 2083733 w 8791676"/>
              <a:gd name="connsiteY0" fmla="*/ 0 h 6867554"/>
              <a:gd name="connsiteX1" fmla="*/ 8791676 w 8791676"/>
              <a:gd name="connsiteY1" fmla="*/ 22172 h 6867554"/>
              <a:gd name="connsiteX2" fmla="*/ 3388908 w 8791676"/>
              <a:gd name="connsiteY2" fmla="*/ 6862669 h 6867554"/>
              <a:gd name="connsiteX3" fmla="*/ 5505 w 8791676"/>
              <a:gd name="connsiteY3" fmla="*/ 6867554 h 6867554"/>
              <a:gd name="connsiteX4" fmla="*/ 0 w 8791676"/>
              <a:gd name="connsiteY4" fmla="*/ 5129270 h 6867554"/>
              <a:gd name="connsiteX5" fmla="*/ 2083733 w 8791676"/>
              <a:gd name="connsiteY5" fmla="*/ 0 h 6867554"/>
              <a:gd name="connsiteX0" fmla="*/ 2083733 w 8948339"/>
              <a:gd name="connsiteY0" fmla="*/ 208 h 6867762"/>
              <a:gd name="connsiteX1" fmla="*/ 8948339 w 8948339"/>
              <a:gd name="connsiteY1" fmla="*/ 0 h 6867762"/>
              <a:gd name="connsiteX2" fmla="*/ 3388908 w 8948339"/>
              <a:gd name="connsiteY2" fmla="*/ 6862877 h 6867762"/>
              <a:gd name="connsiteX3" fmla="*/ 5505 w 8948339"/>
              <a:gd name="connsiteY3" fmla="*/ 6867762 h 6867762"/>
              <a:gd name="connsiteX4" fmla="*/ 0 w 8948339"/>
              <a:gd name="connsiteY4" fmla="*/ 5129478 h 6867762"/>
              <a:gd name="connsiteX5" fmla="*/ 2083733 w 8948339"/>
              <a:gd name="connsiteY5" fmla="*/ 208 h 68677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948339" h="6867762">
                <a:moveTo>
                  <a:pt x="2083733" y="208"/>
                </a:moveTo>
                <a:lnTo>
                  <a:pt x="8948339" y="0"/>
                </a:lnTo>
                <a:lnTo>
                  <a:pt x="3388908" y="6862877"/>
                </a:lnTo>
                <a:lnTo>
                  <a:pt x="5505" y="6867762"/>
                </a:lnTo>
                <a:cubicBezTo>
                  <a:pt x="5505" y="6488575"/>
                  <a:pt x="0" y="5508665"/>
                  <a:pt x="0" y="5129478"/>
                </a:cubicBezTo>
                <a:lnTo>
                  <a:pt x="2083733" y="208"/>
                </a:lnTo>
                <a:close/>
              </a:path>
            </a:pathLst>
          </a:custGeom>
          <a:solidFill>
            <a:srgbClr val="55575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solidFill>
                <a:srgbClr val="FFFFFF"/>
              </a:solidFill>
            </a:endParaRPr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1866737" y="3588760"/>
            <a:ext cx="6604000" cy="0"/>
          </a:xfrm>
          <a:prstGeom prst="line">
            <a:avLst/>
          </a:prstGeom>
          <a:ln w="12700" cmpd="sng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19"/>
          <p:cNvSpPr>
            <a:spLocks noGrp="1"/>
          </p:cNvSpPr>
          <p:nvPr>
            <p:ph type="body" sz="quarter" idx="18" hasCustomPrompt="1"/>
          </p:nvPr>
        </p:nvSpPr>
        <p:spPr>
          <a:xfrm>
            <a:off x="1866739" y="3692359"/>
            <a:ext cx="5576799" cy="343400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FontTx/>
              <a:buNone/>
              <a:defRPr sz="1600" cap="all">
                <a:solidFill>
                  <a:schemeClr val="accent2"/>
                </a:solidFill>
                <a:latin typeface="+mn-lt"/>
              </a:defRPr>
            </a:lvl1pPr>
          </a:lstStyle>
          <a:p>
            <a:r>
              <a:rPr lang="en-US" sz="1600" dirty="0"/>
              <a:t>Click to edit SUBTITLE</a:t>
            </a:r>
          </a:p>
        </p:txBody>
      </p:sp>
      <p:sp>
        <p:nvSpPr>
          <p:cNvPr id="13" name="Text Placeholder 23"/>
          <p:cNvSpPr>
            <a:spLocks noGrp="1"/>
          </p:cNvSpPr>
          <p:nvPr>
            <p:ph type="body" sz="quarter" idx="19"/>
          </p:nvPr>
        </p:nvSpPr>
        <p:spPr>
          <a:xfrm>
            <a:off x="1866740" y="3059449"/>
            <a:ext cx="6154313" cy="452437"/>
          </a:xfrm>
          <a:prstGeom prst="rect">
            <a:avLst/>
          </a:prstGeom>
        </p:spPr>
        <p:txBody>
          <a:bodyPr vert="horz" lIns="0" rIns="0" bIns="0" anchor="b"/>
          <a:lstStyle>
            <a:lvl1pPr marL="0" indent="0">
              <a:buFontTx/>
              <a:buNone/>
              <a:defRPr sz="2500" cap="all" baseline="0">
                <a:solidFill>
                  <a:schemeClr val="bg1"/>
                </a:solidFill>
                <a:latin typeface="+mj-lt"/>
              </a:defRPr>
            </a:lvl1pPr>
            <a:lvl2pPr marL="457178" indent="0">
              <a:buFontTx/>
              <a:buNone/>
              <a:defRPr sz="2400" cap="all" baseline="0">
                <a:solidFill>
                  <a:schemeClr val="bg1"/>
                </a:solidFill>
              </a:defRPr>
            </a:lvl2pPr>
            <a:lvl3pPr marL="914354" indent="0">
              <a:buFontTx/>
              <a:buNone/>
              <a:defRPr sz="2400" cap="all" baseline="0">
                <a:solidFill>
                  <a:schemeClr val="bg1"/>
                </a:solidFill>
              </a:defRPr>
            </a:lvl3pPr>
            <a:lvl4pPr marL="1371532" indent="0">
              <a:buFontTx/>
              <a:buNone/>
              <a:defRPr sz="2400" cap="all" baseline="0">
                <a:solidFill>
                  <a:schemeClr val="bg1"/>
                </a:solidFill>
              </a:defRPr>
            </a:lvl4pPr>
            <a:lvl5pPr marL="1828709" indent="0">
              <a:buFontTx/>
              <a:buNone/>
              <a:defRPr sz="2400" cap="all" baseline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79975" y="6197563"/>
            <a:ext cx="2658995" cy="343835"/>
          </a:xfrm>
          <a:prstGeom prst="rect">
            <a:avLst/>
          </a:prstGeom>
        </p:spPr>
      </p:pic>
      <p:sp>
        <p:nvSpPr>
          <p:cNvPr id="4" name="Text Placeholder 3"/>
          <p:cNvSpPr>
            <a:spLocks noGrp="1"/>
          </p:cNvSpPr>
          <p:nvPr>
            <p:ph type="body" sz="quarter" idx="20" hasCustomPrompt="1"/>
          </p:nvPr>
        </p:nvSpPr>
        <p:spPr>
          <a:xfrm>
            <a:off x="1866737" y="4200993"/>
            <a:ext cx="4267200" cy="347472"/>
          </a:xfrm>
        </p:spPr>
        <p:txBody>
          <a:bodyPr anchor="ctr"/>
          <a:lstStyle>
            <a:lvl1pPr marL="0" indent="0">
              <a:buNone/>
              <a:defRPr sz="16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Insert Date</a:t>
            </a:r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21" hasCustomPrompt="1"/>
          </p:nvPr>
        </p:nvSpPr>
        <p:spPr>
          <a:xfrm>
            <a:off x="1866737" y="4889321"/>
            <a:ext cx="4267200" cy="347472"/>
          </a:xfrm>
        </p:spPr>
        <p:txBody>
          <a:bodyPr anchor="ctr"/>
          <a:lstStyle>
            <a:lvl1pPr marL="0" indent="0">
              <a:buNone/>
              <a:defRPr sz="105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Navigant Reference No:</a:t>
            </a:r>
          </a:p>
        </p:txBody>
      </p:sp>
      <p:sp>
        <p:nvSpPr>
          <p:cNvPr id="15" name="Freeform 14"/>
          <p:cNvSpPr/>
          <p:nvPr userDrawn="1"/>
        </p:nvSpPr>
        <p:spPr>
          <a:xfrm>
            <a:off x="-8596" y="-3908"/>
            <a:ext cx="2781343" cy="5136220"/>
          </a:xfrm>
          <a:custGeom>
            <a:avLst/>
            <a:gdLst>
              <a:gd name="connsiteX0" fmla="*/ 0 w 1661746"/>
              <a:gd name="connsiteY0" fmla="*/ 0 h 4044462"/>
              <a:gd name="connsiteX1" fmla="*/ 1661746 w 1661746"/>
              <a:gd name="connsiteY1" fmla="*/ 0 h 4044462"/>
              <a:gd name="connsiteX2" fmla="*/ 17585 w 1661746"/>
              <a:gd name="connsiteY2" fmla="*/ 4044462 h 4044462"/>
              <a:gd name="connsiteX3" fmla="*/ 0 w 1661746"/>
              <a:gd name="connsiteY3" fmla="*/ 0 h 4044462"/>
              <a:gd name="connsiteX0" fmla="*/ 0 w 1661746"/>
              <a:gd name="connsiteY0" fmla="*/ 0 h 4039867"/>
              <a:gd name="connsiteX1" fmla="*/ 1661746 w 1661746"/>
              <a:gd name="connsiteY1" fmla="*/ 0 h 4039867"/>
              <a:gd name="connsiteX2" fmla="*/ 12990 w 1661746"/>
              <a:gd name="connsiteY2" fmla="*/ 4039867 h 4039867"/>
              <a:gd name="connsiteX3" fmla="*/ 0 w 1661746"/>
              <a:gd name="connsiteY3" fmla="*/ 0 h 4039867"/>
              <a:gd name="connsiteX0" fmla="*/ 170948 w 1648895"/>
              <a:gd name="connsiteY0" fmla="*/ 284889 h 4039867"/>
              <a:gd name="connsiteX1" fmla="*/ 1648895 w 1648895"/>
              <a:gd name="connsiteY1" fmla="*/ 0 h 4039867"/>
              <a:gd name="connsiteX2" fmla="*/ 139 w 1648895"/>
              <a:gd name="connsiteY2" fmla="*/ 4039867 h 4039867"/>
              <a:gd name="connsiteX3" fmla="*/ 170948 w 1648895"/>
              <a:gd name="connsiteY3" fmla="*/ 284889 h 4039867"/>
              <a:gd name="connsiteX0" fmla="*/ 170948 w 1653490"/>
              <a:gd name="connsiteY0" fmla="*/ 225154 h 3980132"/>
              <a:gd name="connsiteX1" fmla="*/ 1653490 w 1653490"/>
              <a:gd name="connsiteY1" fmla="*/ 0 h 3980132"/>
              <a:gd name="connsiteX2" fmla="*/ 139 w 1653490"/>
              <a:gd name="connsiteY2" fmla="*/ 3980132 h 3980132"/>
              <a:gd name="connsiteX3" fmla="*/ 170948 w 1653490"/>
              <a:gd name="connsiteY3" fmla="*/ 225154 h 3980132"/>
              <a:gd name="connsiteX0" fmla="*/ 170948 w 1658085"/>
              <a:gd name="connsiteY0" fmla="*/ 284889 h 4039867"/>
              <a:gd name="connsiteX1" fmla="*/ 1658085 w 1658085"/>
              <a:gd name="connsiteY1" fmla="*/ 0 h 4039867"/>
              <a:gd name="connsiteX2" fmla="*/ 139 w 1658085"/>
              <a:gd name="connsiteY2" fmla="*/ 4039867 h 4039867"/>
              <a:gd name="connsiteX3" fmla="*/ 170948 w 1658085"/>
              <a:gd name="connsiteY3" fmla="*/ 284889 h 4039867"/>
              <a:gd name="connsiteX0" fmla="*/ 0 w 1666341"/>
              <a:gd name="connsiteY0" fmla="*/ 4595 h 4039867"/>
              <a:gd name="connsiteX1" fmla="*/ 1666341 w 1666341"/>
              <a:gd name="connsiteY1" fmla="*/ 0 h 4039867"/>
              <a:gd name="connsiteX2" fmla="*/ 8395 w 1666341"/>
              <a:gd name="connsiteY2" fmla="*/ 4039867 h 4039867"/>
              <a:gd name="connsiteX3" fmla="*/ 0 w 1666341"/>
              <a:gd name="connsiteY3" fmla="*/ 4595 h 4039867"/>
              <a:gd name="connsiteX0" fmla="*/ 0 w 1666341"/>
              <a:gd name="connsiteY0" fmla="*/ 4595 h 4035272"/>
              <a:gd name="connsiteX1" fmla="*/ 1666341 w 1666341"/>
              <a:gd name="connsiteY1" fmla="*/ 0 h 4035272"/>
              <a:gd name="connsiteX2" fmla="*/ 8395 w 1666341"/>
              <a:gd name="connsiteY2" fmla="*/ 4035272 h 4035272"/>
              <a:gd name="connsiteX3" fmla="*/ 0 w 1666341"/>
              <a:gd name="connsiteY3" fmla="*/ 4595 h 4035272"/>
              <a:gd name="connsiteX0" fmla="*/ 56296 w 1658307"/>
              <a:gd name="connsiteY0" fmla="*/ 114874 h 4035272"/>
              <a:gd name="connsiteX1" fmla="*/ 1658307 w 1658307"/>
              <a:gd name="connsiteY1" fmla="*/ 0 h 4035272"/>
              <a:gd name="connsiteX2" fmla="*/ 361 w 1658307"/>
              <a:gd name="connsiteY2" fmla="*/ 4035272 h 4035272"/>
              <a:gd name="connsiteX3" fmla="*/ 56296 w 1658307"/>
              <a:gd name="connsiteY3" fmla="*/ 114874 h 4035272"/>
              <a:gd name="connsiteX0" fmla="*/ 2400 w 1659551"/>
              <a:gd name="connsiteY0" fmla="*/ 9190 h 4035272"/>
              <a:gd name="connsiteX1" fmla="*/ 1659551 w 1659551"/>
              <a:gd name="connsiteY1" fmla="*/ 0 h 4035272"/>
              <a:gd name="connsiteX2" fmla="*/ 1605 w 1659551"/>
              <a:gd name="connsiteY2" fmla="*/ 4035272 h 4035272"/>
              <a:gd name="connsiteX3" fmla="*/ 2400 w 1659551"/>
              <a:gd name="connsiteY3" fmla="*/ 9190 h 4035272"/>
              <a:gd name="connsiteX0" fmla="*/ 146 w 1659873"/>
              <a:gd name="connsiteY0" fmla="*/ 6614 h 4035272"/>
              <a:gd name="connsiteX1" fmla="*/ 1659873 w 1659873"/>
              <a:gd name="connsiteY1" fmla="*/ 0 h 4035272"/>
              <a:gd name="connsiteX2" fmla="*/ 1927 w 1659873"/>
              <a:gd name="connsiteY2" fmla="*/ 4035272 h 4035272"/>
              <a:gd name="connsiteX3" fmla="*/ 146 w 1659873"/>
              <a:gd name="connsiteY3" fmla="*/ 6614 h 4035272"/>
              <a:gd name="connsiteX0" fmla="*/ 146 w 1649570"/>
              <a:gd name="connsiteY0" fmla="*/ 0 h 4028658"/>
              <a:gd name="connsiteX1" fmla="*/ 1649570 w 1649570"/>
              <a:gd name="connsiteY1" fmla="*/ 11416 h 4028658"/>
              <a:gd name="connsiteX2" fmla="*/ 1927 w 1649570"/>
              <a:gd name="connsiteY2" fmla="*/ 4028658 h 4028658"/>
              <a:gd name="connsiteX3" fmla="*/ 146 w 1649570"/>
              <a:gd name="connsiteY3" fmla="*/ 0 h 4028658"/>
              <a:gd name="connsiteX0" fmla="*/ 57814 w 1647996"/>
              <a:gd name="connsiteY0" fmla="*/ 109645 h 4017242"/>
              <a:gd name="connsiteX1" fmla="*/ 1647996 w 1647996"/>
              <a:gd name="connsiteY1" fmla="*/ 0 h 4017242"/>
              <a:gd name="connsiteX2" fmla="*/ 353 w 1647996"/>
              <a:gd name="connsiteY2" fmla="*/ 4017242 h 4017242"/>
              <a:gd name="connsiteX3" fmla="*/ 57814 w 1647996"/>
              <a:gd name="connsiteY3" fmla="*/ 109645 h 4017242"/>
              <a:gd name="connsiteX0" fmla="*/ 52689 w 1648022"/>
              <a:gd name="connsiteY0" fmla="*/ 65857 h 4017242"/>
              <a:gd name="connsiteX1" fmla="*/ 1648022 w 1648022"/>
              <a:gd name="connsiteY1" fmla="*/ 0 h 4017242"/>
              <a:gd name="connsiteX2" fmla="*/ 379 w 1648022"/>
              <a:gd name="connsiteY2" fmla="*/ 4017242 h 4017242"/>
              <a:gd name="connsiteX3" fmla="*/ 52689 w 1648022"/>
              <a:gd name="connsiteY3" fmla="*/ 65857 h 4017242"/>
              <a:gd name="connsiteX0" fmla="*/ 9598 w 1648720"/>
              <a:gd name="connsiteY0" fmla="*/ 0 h 4020931"/>
              <a:gd name="connsiteX1" fmla="*/ 1648720 w 1648720"/>
              <a:gd name="connsiteY1" fmla="*/ 3689 h 4020931"/>
              <a:gd name="connsiteX2" fmla="*/ 1077 w 1648720"/>
              <a:gd name="connsiteY2" fmla="*/ 4020931 h 4020931"/>
              <a:gd name="connsiteX3" fmla="*/ 9598 w 1648720"/>
              <a:gd name="connsiteY3" fmla="*/ 0 h 4020931"/>
              <a:gd name="connsiteX0" fmla="*/ 12067 w 1651189"/>
              <a:gd name="connsiteY0" fmla="*/ 0 h 4023507"/>
              <a:gd name="connsiteX1" fmla="*/ 1651189 w 1651189"/>
              <a:gd name="connsiteY1" fmla="*/ 3689 h 4023507"/>
              <a:gd name="connsiteX2" fmla="*/ 971 w 1651189"/>
              <a:gd name="connsiteY2" fmla="*/ 4023507 h 4023507"/>
              <a:gd name="connsiteX3" fmla="*/ 12067 w 1651189"/>
              <a:gd name="connsiteY3" fmla="*/ 0 h 4023507"/>
              <a:gd name="connsiteX0" fmla="*/ 0 w 1639122"/>
              <a:gd name="connsiteY0" fmla="*/ 0 h 4023507"/>
              <a:gd name="connsiteX1" fmla="*/ 1639122 w 1639122"/>
              <a:gd name="connsiteY1" fmla="*/ 3689 h 4023507"/>
              <a:gd name="connsiteX2" fmla="*/ 6935 w 1639122"/>
              <a:gd name="connsiteY2" fmla="*/ 4023507 h 4023507"/>
              <a:gd name="connsiteX3" fmla="*/ 0 w 1639122"/>
              <a:gd name="connsiteY3" fmla="*/ 0 h 4023507"/>
              <a:gd name="connsiteX0" fmla="*/ 17059 w 1656181"/>
              <a:gd name="connsiteY0" fmla="*/ 0 h 4015780"/>
              <a:gd name="connsiteX1" fmla="*/ 1656181 w 1656181"/>
              <a:gd name="connsiteY1" fmla="*/ 3689 h 4015780"/>
              <a:gd name="connsiteX2" fmla="*/ 812 w 1656181"/>
              <a:gd name="connsiteY2" fmla="*/ 4015780 h 4015780"/>
              <a:gd name="connsiteX3" fmla="*/ 17059 w 1656181"/>
              <a:gd name="connsiteY3" fmla="*/ 0 h 4015780"/>
              <a:gd name="connsiteX0" fmla="*/ 0 w 1639122"/>
              <a:gd name="connsiteY0" fmla="*/ 0 h 3899870"/>
              <a:gd name="connsiteX1" fmla="*/ 1639122 w 1639122"/>
              <a:gd name="connsiteY1" fmla="*/ 3689 h 3899870"/>
              <a:gd name="connsiteX2" fmla="*/ 73905 w 1639122"/>
              <a:gd name="connsiteY2" fmla="*/ 3899870 h 3899870"/>
              <a:gd name="connsiteX3" fmla="*/ 0 w 1639122"/>
              <a:gd name="connsiteY3" fmla="*/ 0 h 3899870"/>
              <a:gd name="connsiteX0" fmla="*/ 0 w 1639122"/>
              <a:gd name="connsiteY0" fmla="*/ 0 h 3987447"/>
              <a:gd name="connsiteX1" fmla="*/ 1639122 w 1639122"/>
              <a:gd name="connsiteY1" fmla="*/ 3689 h 3987447"/>
              <a:gd name="connsiteX2" fmla="*/ 6935 w 1639122"/>
              <a:gd name="connsiteY2" fmla="*/ 3987447 h 3987447"/>
              <a:gd name="connsiteX3" fmla="*/ 0 w 1639122"/>
              <a:gd name="connsiteY3" fmla="*/ 0 h 3987447"/>
              <a:gd name="connsiteX0" fmla="*/ 144 w 1639266"/>
              <a:gd name="connsiteY0" fmla="*/ 0 h 3987447"/>
              <a:gd name="connsiteX1" fmla="*/ 1639266 w 1639266"/>
              <a:gd name="connsiteY1" fmla="*/ 3689 h 3987447"/>
              <a:gd name="connsiteX2" fmla="*/ 1927 w 1639266"/>
              <a:gd name="connsiteY2" fmla="*/ 3987447 h 3987447"/>
              <a:gd name="connsiteX3" fmla="*/ 144 w 1639266"/>
              <a:gd name="connsiteY3" fmla="*/ 0 h 3987447"/>
              <a:gd name="connsiteX0" fmla="*/ 2397 w 1641519"/>
              <a:gd name="connsiteY0" fmla="*/ 0 h 3995174"/>
              <a:gd name="connsiteX1" fmla="*/ 1641519 w 1641519"/>
              <a:gd name="connsiteY1" fmla="*/ 3689 h 3995174"/>
              <a:gd name="connsiteX2" fmla="*/ 1605 w 1641519"/>
              <a:gd name="connsiteY2" fmla="*/ 3995174 h 3995174"/>
              <a:gd name="connsiteX3" fmla="*/ 2397 w 1641519"/>
              <a:gd name="connsiteY3" fmla="*/ 0 h 3995174"/>
              <a:gd name="connsiteX0" fmla="*/ 9681 w 1648803"/>
              <a:gd name="connsiteY0" fmla="*/ 0 h 5116681"/>
              <a:gd name="connsiteX1" fmla="*/ 1648803 w 1648803"/>
              <a:gd name="connsiteY1" fmla="*/ 3689 h 5116681"/>
              <a:gd name="connsiteX2" fmla="*/ 1073 w 1648803"/>
              <a:gd name="connsiteY2" fmla="*/ 5116681 h 5116681"/>
              <a:gd name="connsiteX3" fmla="*/ 9681 w 1648803"/>
              <a:gd name="connsiteY3" fmla="*/ 0 h 5116681"/>
              <a:gd name="connsiteX0" fmla="*/ 9681 w 2078650"/>
              <a:gd name="connsiteY0" fmla="*/ 0 h 5116681"/>
              <a:gd name="connsiteX1" fmla="*/ 2078650 w 2078650"/>
              <a:gd name="connsiteY1" fmla="*/ 3689 h 5116681"/>
              <a:gd name="connsiteX2" fmla="*/ 1073 w 2078650"/>
              <a:gd name="connsiteY2" fmla="*/ 5116681 h 5116681"/>
              <a:gd name="connsiteX3" fmla="*/ 9681 w 2078650"/>
              <a:gd name="connsiteY3" fmla="*/ 0 h 5116681"/>
              <a:gd name="connsiteX0" fmla="*/ 5986 w 2078862"/>
              <a:gd name="connsiteY0" fmla="*/ 0 h 5120589"/>
              <a:gd name="connsiteX1" fmla="*/ 2078862 w 2078862"/>
              <a:gd name="connsiteY1" fmla="*/ 7597 h 5120589"/>
              <a:gd name="connsiteX2" fmla="*/ 1285 w 2078862"/>
              <a:gd name="connsiteY2" fmla="*/ 5120589 h 5120589"/>
              <a:gd name="connsiteX3" fmla="*/ 5986 w 2078862"/>
              <a:gd name="connsiteY3" fmla="*/ 0 h 5120589"/>
              <a:gd name="connsiteX0" fmla="*/ 2400 w 2075276"/>
              <a:gd name="connsiteY0" fmla="*/ 0 h 5108866"/>
              <a:gd name="connsiteX1" fmla="*/ 2075276 w 2075276"/>
              <a:gd name="connsiteY1" fmla="*/ 7597 h 5108866"/>
              <a:gd name="connsiteX2" fmla="*/ 1606 w 2075276"/>
              <a:gd name="connsiteY2" fmla="*/ 5108866 h 5108866"/>
              <a:gd name="connsiteX3" fmla="*/ 2400 w 2075276"/>
              <a:gd name="connsiteY3" fmla="*/ 0 h 5108866"/>
              <a:gd name="connsiteX0" fmla="*/ 5987 w 2078863"/>
              <a:gd name="connsiteY0" fmla="*/ 0 h 5136220"/>
              <a:gd name="connsiteX1" fmla="*/ 2078863 w 2078863"/>
              <a:gd name="connsiteY1" fmla="*/ 7597 h 5136220"/>
              <a:gd name="connsiteX2" fmla="*/ 1285 w 2078863"/>
              <a:gd name="connsiteY2" fmla="*/ 5136220 h 5136220"/>
              <a:gd name="connsiteX3" fmla="*/ 5987 w 2078863"/>
              <a:gd name="connsiteY3" fmla="*/ 0 h 5136220"/>
              <a:gd name="connsiteX0" fmla="*/ 5987 w 2086007"/>
              <a:gd name="connsiteY0" fmla="*/ 0 h 5136220"/>
              <a:gd name="connsiteX1" fmla="*/ 2086007 w 2086007"/>
              <a:gd name="connsiteY1" fmla="*/ 2835 h 5136220"/>
              <a:gd name="connsiteX2" fmla="*/ 1285 w 2086007"/>
              <a:gd name="connsiteY2" fmla="*/ 5136220 h 5136220"/>
              <a:gd name="connsiteX3" fmla="*/ 5987 w 2086007"/>
              <a:gd name="connsiteY3" fmla="*/ 0 h 51362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086007" h="5136220">
                <a:moveTo>
                  <a:pt x="5987" y="0"/>
                </a:moveTo>
                <a:lnTo>
                  <a:pt x="2086007" y="2835"/>
                </a:lnTo>
                <a:cubicBezTo>
                  <a:pt x="1539369" y="1333330"/>
                  <a:pt x="547923" y="3805725"/>
                  <a:pt x="1285" y="5136220"/>
                </a:cubicBezTo>
                <a:cubicBezTo>
                  <a:pt x="-4577" y="3790997"/>
                  <a:pt x="11849" y="1354016"/>
                  <a:pt x="5987" y="0"/>
                </a:cubicBezTo>
                <a:close/>
              </a:path>
            </a:pathLst>
          </a:custGeom>
          <a:gradFill>
            <a:gsLst>
              <a:gs pos="0">
                <a:srgbClr val="648C1A"/>
              </a:gs>
              <a:gs pos="100000">
                <a:schemeClr val="accent2"/>
              </a:gs>
            </a:gsLst>
            <a:lin ang="108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7602707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 -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72747" y="1"/>
            <a:ext cx="9137741" cy="1011420"/>
          </a:xfrm>
          <a:prstGeom prst="rect">
            <a:avLst/>
          </a:prstGeom>
        </p:spPr>
        <p:txBody>
          <a:bodyPr anchor="b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42269290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18" name="think-cell Slide" r:id="rId5" imgW="530" imgH="531" progId="TCLayout.ActiveDocument.1">
                  <p:embed/>
                </p:oleObj>
              </mc:Choice>
              <mc:Fallback>
                <p:oleObj name="think-cell Slide" r:id="rId5" imgW="530" imgH="531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"/>
          <p:cNvSpPr>
            <a:spLocks noGrp="1"/>
          </p:cNvSpPr>
          <p:nvPr>
            <p:ph idx="1"/>
          </p:nvPr>
        </p:nvSpPr>
        <p:spPr bwMode="gray">
          <a:xfrm>
            <a:off x="287453" y="1341114"/>
            <a:ext cx="11625600" cy="4828044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/>
            </a:lvl6pPr>
            <a:lvl7pPr fontAlgn="base">
              <a:lnSpc>
                <a:spcPct val="100000"/>
              </a:lnSpc>
              <a:spcAft>
                <a:spcPts val="0"/>
              </a:spcAft>
              <a:defRPr/>
            </a:lvl7pPr>
            <a:lvl8pPr fontAlgn="base">
              <a:lnSpc>
                <a:spcPct val="100000"/>
              </a:lnSpc>
              <a:spcAft>
                <a:spcPts val="0"/>
              </a:spcAft>
              <a:defRPr/>
            </a:lvl8pPr>
            <a:lvl9pPr fontAlgn="base">
              <a:lnSpc>
                <a:spcPct val="100000"/>
              </a:lnSpc>
              <a:spcAft>
                <a:spcPts val="0"/>
              </a:spcAft>
              <a:defRPr/>
            </a:lvl9pPr>
          </a:lstStyle>
          <a:p>
            <a:pPr lvl="0"/>
            <a:r>
              <a:rPr lang="en-US" altLang="ja-JP"/>
              <a:t>Click to edit Master text styles</a:t>
            </a:r>
          </a:p>
          <a:p>
            <a:pPr lvl="1"/>
            <a:r>
              <a:rPr lang="en-US" altLang="ja-JP"/>
              <a:t>Second level</a:t>
            </a:r>
          </a:p>
          <a:p>
            <a:pPr lvl="2"/>
            <a:r>
              <a:rPr lang="en-US" altLang="ja-JP"/>
              <a:t>Third level</a:t>
            </a:r>
          </a:p>
          <a:p>
            <a:pPr lvl="3"/>
            <a:r>
              <a:rPr lang="en-US" altLang="ja-JP"/>
              <a:t>Fourth level</a:t>
            </a:r>
          </a:p>
          <a:p>
            <a:pPr lvl="4"/>
            <a:r>
              <a:rPr lang="en-US" altLang="ja-JP"/>
              <a:t>Fifth level</a:t>
            </a:r>
            <a:endParaRPr lang="en-GB" dirty="0"/>
          </a:p>
        </p:txBody>
      </p:sp>
      <p:sp>
        <p:nvSpPr>
          <p:cNvPr id="9" name="Title"/>
          <p:cNvSpPr>
            <a:spLocks noGrp="1" noChangeArrowheads="1"/>
          </p:cNvSpPr>
          <p:nvPr>
            <p:ph type="title"/>
            <p:custDataLst>
              <p:tags r:id="rId3"/>
            </p:custDataLst>
          </p:nvPr>
        </p:nvSpPr>
        <p:spPr bwMode="gray">
          <a:xfrm>
            <a:off x="287453" y="1"/>
            <a:ext cx="11625600" cy="1011600"/>
          </a:xfrm>
          <a:prstGeom prst="rect">
            <a:avLst/>
          </a:prstGeom>
        </p:spPr>
        <p:txBody>
          <a:bodyPr anchor="b"/>
          <a:lstStyle/>
          <a:p>
            <a:pPr lvl="0"/>
            <a:r>
              <a:rPr lang="en-US" altLang="ja-JP"/>
              <a:t>Click to edit Master title style</a:t>
            </a:r>
            <a:endParaRPr lang="en-GB" dirty="0"/>
          </a:p>
        </p:txBody>
      </p:sp>
      <p:sp>
        <p:nvSpPr>
          <p:cNvPr id="6" name="Content"/>
          <p:cNvSpPr>
            <a:spLocks noGrp="1"/>
          </p:cNvSpPr>
          <p:nvPr>
            <p:ph idx="10" hasCustomPrompt="1"/>
          </p:nvPr>
        </p:nvSpPr>
        <p:spPr bwMode="gray">
          <a:xfrm>
            <a:off x="287453" y="6046048"/>
            <a:ext cx="11625600" cy="123111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en-US" sz="800" dirty="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/>
            </a:lvl6pPr>
            <a:lvl7pPr fontAlgn="base">
              <a:lnSpc>
                <a:spcPct val="100000"/>
              </a:lnSpc>
              <a:spcAft>
                <a:spcPts val="0"/>
              </a:spcAft>
              <a:defRPr/>
            </a:lvl7pPr>
            <a:lvl8pPr fontAlgn="base">
              <a:lnSpc>
                <a:spcPct val="100000"/>
              </a:lnSpc>
              <a:spcAft>
                <a:spcPts val="0"/>
              </a:spcAft>
              <a:defRPr/>
            </a:lvl8pPr>
            <a:lvl9pPr fontAlgn="base">
              <a:lnSpc>
                <a:spcPct val="100000"/>
              </a:lnSpc>
              <a:spcAft>
                <a:spcPts val="0"/>
              </a:spcAft>
              <a:defRPr/>
            </a:lvl9pPr>
          </a:lstStyle>
          <a:p>
            <a:pPr lvl="0"/>
            <a:r>
              <a:rPr lang="en-GB" dirty="0"/>
              <a:t>Source: </a:t>
            </a:r>
          </a:p>
        </p:txBody>
      </p:sp>
    </p:spTree>
    <p:extLst>
      <p:ext uri="{BB962C8B-B14F-4D97-AF65-F5344CB8AC3E}">
        <p14:creationId xmlns:p14="http://schemas.microsoft.com/office/powerpoint/2010/main" val="2298054879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with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"/>
          <p:cNvSpPr>
            <a:spLocks noGrp="1"/>
          </p:cNvSpPr>
          <p:nvPr>
            <p:ph idx="1"/>
          </p:nvPr>
        </p:nvSpPr>
        <p:spPr bwMode="gray">
          <a:xfrm>
            <a:off x="287453" y="1944002"/>
            <a:ext cx="11625600" cy="4225156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fontAlgn="base">
              <a:lnSpc>
                <a:spcPct val="100000"/>
              </a:lnSpc>
              <a:spcAft>
                <a:spcPts val="0"/>
              </a:spcAft>
              <a:defRPr lang="en-US" sz="1400" dirty="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sz="1400" dirty="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sz="1400" dirty="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sz="1400" dirty="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sz="1400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/>
            </a:lvl6pPr>
            <a:lvl7pPr fontAlgn="base">
              <a:lnSpc>
                <a:spcPct val="100000"/>
              </a:lnSpc>
              <a:spcAft>
                <a:spcPts val="0"/>
              </a:spcAft>
              <a:defRPr/>
            </a:lvl7pPr>
            <a:lvl8pPr fontAlgn="base">
              <a:lnSpc>
                <a:spcPct val="100000"/>
              </a:lnSpc>
              <a:spcAft>
                <a:spcPts val="0"/>
              </a:spcAft>
              <a:defRPr/>
            </a:lvl8pPr>
            <a:lvl9pPr fontAlgn="base">
              <a:lnSpc>
                <a:spcPct val="100000"/>
              </a:lnSpc>
              <a:spcAft>
                <a:spcPts val="0"/>
              </a:spcAft>
              <a:defRPr/>
            </a:lvl9pPr>
          </a:lstStyle>
          <a:p>
            <a:pPr lvl="0"/>
            <a:r>
              <a:rPr lang="en-US" altLang="ja-JP"/>
              <a:t>Click to edit Master text styles</a:t>
            </a:r>
          </a:p>
          <a:p>
            <a:pPr lvl="1"/>
            <a:r>
              <a:rPr lang="en-US" altLang="ja-JP"/>
              <a:t>Second level</a:t>
            </a:r>
          </a:p>
          <a:p>
            <a:pPr lvl="2"/>
            <a:r>
              <a:rPr lang="en-US" altLang="ja-JP"/>
              <a:t>Third level</a:t>
            </a:r>
          </a:p>
          <a:p>
            <a:pPr lvl="3"/>
            <a:r>
              <a:rPr lang="en-US" altLang="ja-JP"/>
              <a:t>Fourth level</a:t>
            </a:r>
          </a:p>
          <a:p>
            <a:pPr lvl="4"/>
            <a:r>
              <a:rPr lang="en-US" altLang="ja-JP"/>
              <a:t>Fifth level</a:t>
            </a:r>
            <a:endParaRPr lang="en-GB" dirty="0"/>
          </a:p>
        </p:txBody>
      </p:sp>
      <p:sp>
        <p:nvSpPr>
          <p:cNvPr id="8" name="Heading 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287453" y="1341115"/>
            <a:ext cx="11625600" cy="430887"/>
          </a:xfrm>
        </p:spPr>
        <p:txBody>
          <a:bodyPr wrap="square" lIns="0" tIns="0" rIns="0" bIns="0"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400" b="1">
                <a:solidFill>
                  <a:schemeClr val="accent1"/>
                </a:solidFill>
                <a:latin typeface="+mn-lt"/>
                <a:sym typeface="+mn-lt"/>
              </a:defRPr>
            </a:lvl1pPr>
            <a:lvl2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400">
                <a:solidFill>
                  <a:schemeClr val="accent1"/>
                </a:solidFill>
                <a:latin typeface="+mn-lt"/>
                <a:sym typeface="+mn-lt"/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Heading 14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4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6" name="Title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gray">
          <a:xfrm>
            <a:off x="287453" y="1"/>
            <a:ext cx="11625600" cy="1011600"/>
          </a:xfrm>
          <a:prstGeom prst="rect">
            <a:avLst/>
          </a:prstGeom>
        </p:spPr>
        <p:txBody>
          <a:bodyPr anchor="b"/>
          <a:lstStyle/>
          <a:p>
            <a:pPr lvl="0"/>
            <a:r>
              <a:rPr lang="en-US" altLang="ja-JP"/>
              <a:t>Click to edit Master title style</a:t>
            </a:r>
            <a:endParaRPr lang="en-GB" dirty="0"/>
          </a:p>
        </p:txBody>
      </p:sp>
      <p:sp>
        <p:nvSpPr>
          <p:cNvPr id="9" name="Content"/>
          <p:cNvSpPr>
            <a:spLocks noGrp="1"/>
          </p:cNvSpPr>
          <p:nvPr>
            <p:ph idx="10" hasCustomPrompt="1"/>
          </p:nvPr>
        </p:nvSpPr>
        <p:spPr bwMode="gray">
          <a:xfrm>
            <a:off x="287453" y="6046048"/>
            <a:ext cx="11625600" cy="123111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en-US" sz="800" dirty="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/>
            </a:lvl6pPr>
            <a:lvl7pPr fontAlgn="base">
              <a:lnSpc>
                <a:spcPct val="100000"/>
              </a:lnSpc>
              <a:spcAft>
                <a:spcPts val="0"/>
              </a:spcAft>
              <a:defRPr/>
            </a:lvl7pPr>
            <a:lvl8pPr fontAlgn="base">
              <a:lnSpc>
                <a:spcPct val="100000"/>
              </a:lnSpc>
              <a:spcAft>
                <a:spcPts val="0"/>
              </a:spcAft>
              <a:defRPr/>
            </a:lvl8pPr>
            <a:lvl9pPr fontAlgn="base">
              <a:lnSpc>
                <a:spcPct val="100000"/>
              </a:lnSpc>
              <a:spcAft>
                <a:spcPts val="0"/>
              </a:spcAft>
              <a:defRPr/>
            </a:lvl9pPr>
          </a:lstStyle>
          <a:p>
            <a:pPr lvl="0"/>
            <a:r>
              <a:rPr lang="en-GB" dirty="0"/>
              <a:t>Source: </a:t>
            </a:r>
          </a:p>
        </p:txBody>
      </p:sp>
    </p:spTree>
    <p:extLst>
      <p:ext uri="{BB962C8B-B14F-4D97-AF65-F5344CB8AC3E}">
        <p14:creationId xmlns:p14="http://schemas.microsoft.com/office/powerpoint/2010/main" val="3415133333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6096007" y="1"/>
            <a:ext cx="6095999" cy="685713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solidFill>
                <a:srgbClr val="FFFFFF"/>
              </a:solidFill>
            </a:endParaRPr>
          </a:p>
        </p:txBody>
      </p:sp>
      <p:sp>
        <p:nvSpPr>
          <p:cNvPr id="19" name="Text Placeholder 23"/>
          <p:cNvSpPr>
            <a:spLocks noGrp="1"/>
          </p:cNvSpPr>
          <p:nvPr>
            <p:ph type="body" sz="quarter" idx="12" hasCustomPrompt="1"/>
          </p:nvPr>
        </p:nvSpPr>
        <p:spPr>
          <a:xfrm>
            <a:off x="8947053" y="858420"/>
            <a:ext cx="2963436" cy="4842504"/>
          </a:xfrm>
          <a:prstGeom prst="rect">
            <a:avLst/>
          </a:prstGeom>
        </p:spPr>
        <p:txBody>
          <a:bodyPr vert="horz" lIns="0" rIns="0" bIns="0" anchor="ctr"/>
          <a:lstStyle>
            <a:lvl1pPr marL="0" indent="0">
              <a:buFontTx/>
              <a:buNone/>
              <a:defRPr sz="2000" cap="all" baseline="0">
                <a:solidFill>
                  <a:srgbClr val="555759"/>
                </a:solidFill>
              </a:defRPr>
            </a:lvl1pPr>
            <a:lvl2pPr marL="457178" indent="0">
              <a:buFontTx/>
              <a:buNone/>
              <a:defRPr sz="2400" cap="all" baseline="0">
                <a:solidFill>
                  <a:schemeClr val="bg1"/>
                </a:solidFill>
              </a:defRPr>
            </a:lvl2pPr>
            <a:lvl3pPr marL="914354" indent="0">
              <a:buFontTx/>
              <a:buNone/>
              <a:defRPr sz="2400" cap="all" baseline="0">
                <a:solidFill>
                  <a:schemeClr val="bg1"/>
                </a:solidFill>
              </a:defRPr>
            </a:lvl3pPr>
            <a:lvl4pPr marL="1371532" indent="0">
              <a:buFontTx/>
              <a:buNone/>
              <a:defRPr sz="2400" cap="all" baseline="0">
                <a:solidFill>
                  <a:schemeClr val="bg1"/>
                </a:solidFill>
              </a:defRPr>
            </a:lvl4pPr>
            <a:lvl5pPr marL="1828709" indent="0">
              <a:buFontTx/>
              <a:buNone/>
              <a:defRPr sz="2400" cap="all" baseline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Section #:</a:t>
            </a:r>
          </a:p>
          <a:p>
            <a:pPr lvl="0"/>
            <a:r>
              <a:rPr lang="en-US" dirty="0"/>
              <a:t>Click to add text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07280" y="6400190"/>
            <a:ext cx="1303209" cy="168518"/>
          </a:xfrm>
          <a:prstGeom prst="rect">
            <a:avLst/>
          </a:prstGeom>
        </p:spPr>
      </p:pic>
      <p:sp>
        <p:nvSpPr>
          <p:cNvPr id="9" name="Rectangle 8"/>
          <p:cNvSpPr/>
          <p:nvPr userDrawn="1"/>
        </p:nvSpPr>
        <p:spPr>
          <a:xfrm>
            <a:off x="1" y="866"/>
            <a:ext cx="6096000" cy="6857135"/>
          </a:xfrm>
          <a:prstGeom prst="rect">
            <a:avLst/>
          </a:prstGeom>
          <a:solidFill>
            <a:srgbClr val="55575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solidFill>
                <a:srgbClr val="FFFFFF"/>
              </a:solidFill>
            </a:endParaRPr>
          </a:p>
        </p:txBody>
      </p:sp>
      <p:pic>
        <p:nvPicPr>
          <p:cNvPr id="21" name="Picture 20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72526" y="858420"/>
            <a:ext cx="5246949" cy="48425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29786590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Right"/>
          <p:cNvSpPr>
            <a:spLocks noGrp="1"/>
          </p:cNvSpPr>
          <p:nvPr>
            <p:ph idx="11"/>
          </p:nvPr>
        </p:nvSpPr>
        <p:spPr bwMode="gray">
          <a:xfrm>
            <a:off x="6393053" y="1341114"/>
            <a:ext cx="5520000" cy="4828044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sz="1200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 sz="1200"/>
            </a:lvl6pPr>
            <a:lvl7pPr fontAlgn="base">
              <a:lnSpc>
                <a:spcPct val="100000"/>
              </a:lnSpc>
              <a:spcAft>
                <a:spcPts val="0"/>
              </a:spcAft>
              <a:defRPr sz="1200"/>
            </a:lvl7pPr>
            <a:lvl8pPr fontAlgn="base">
              <a:lnSpc>
                <a:spcPct val="100000"/>
              </a:lnSpc>
              <a:spcAft>
                <a:spcPts val="0"/>
              </a:spcAft>
              <a:defRPr sz="1200"/>
            </a:lvl8pPr>
            <a:lvl9pPr fontAlgn="base">
              <a:lnSpc>
                <a:spcPct val="100000"/>
              </a:lnSpc>
              <a:spcAft>
                <a:spcPts val="0"/>
              </a:spcAft>
              <a:defRPr sz="1200"/>
            </a:lvl9pPr>
          </a:lstStyle>
          <a:p>
            <a:pPr lvl="0"/>
            <a:r>
              <a:rPr lang="en-US" altLang="ja-JP"/>
              <a:t>Click to edit Master text styles</a:t>
            </a:r>
          </a:p>
          <a:p>
            <a:pPr lvl="1"/>
            <a:r>
              <a:rPr lang="en-US" altLang="ja-JP"/>
              <a:t>Second level</a:t>
            </a:r>
          </a:p>
          <a:p>
            <a:pPr lvl="2"/>
            <a:r>
              <a:rPr lang="en-US" altLang="ja-JP"/>
              <a:t>Third level</a:t>
            </a:r>
          </a:p>
          <a:p>
            <a:pPr lvl="3"/>
            <a:r>
              <a:rPr lang="en-US" altLang="ja-JP"/>
              <a:t>Fourth level</a:t>
            </a:r>
          </a:p>
          <a:p>
            <a:pPr lvl="4"/>
            <a:r>
              <a:rPr lang="en-US" altLang="ja-JP"/>
              <a:t>Fifth level</a:t>
            </a:r>
            <a:endParaRPr lang="en-GB" dirty="0"/>
          </a:p>
        </p:txBody>
      </p:sp>
      <p:sp>
        <p:nvSpPr>
          <p:cNvPr id="5" name="Content Left"/>
          <p:cNvSpPr>
            <a:spLocks noGrp="1"/>
          </p:cNvSpPr>
          <p:nvPr>
            <p:ph idx="1"/>
          </p:nvPr>
        </p:nvSpPr>
        <p:spPr bwMode="gray">
          <a:xfrm>
            <a:off x="287455" y="1341114"/>
            <a:ext cx="5520000" cy="4828044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sz="1200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 sz="1200"/>
            </a:lvl6pPr>
            <a:lvl7pPr fontAlgn="base">
              <a:lnSpc>
                <a:spcPct val="100000"/>
              </a:lnSpc>
              <a:spcAft>
                <a:spcPts val="0"/>
              </a:spcAft>
              <a:defRPr sz="1200"/>
            </a:lvl7pPr>
            <a:lvl8pPr fontAlgn="base">
              <a:lnSpc>
                <a:spcPct val="100000"/>
              </a:lnSpc>
              <a:spcAft>
                <a:spcPts val="0"/>
              </a:spcAft>
              <a:defRPr sz="1200"/>
            </a:lvl8pPr>
            <a:lvl9pPr fontAlgn="base">
              <a:lnSpc>
                <a:spcPct val="100000"/>
              </a:lnSpc>
              <a:spcAft>
                <a:spcPts val="0"/>
              </a:spcAft>
              <a:defRPr sz="1200"/>
            </a:lvl9pPr>
          </a:lstStyle>
          <a:p>
            <a:pPr lvl="0"/>
            <a:r>
              <a:rPr lang="en-US" altLang="ja-JP"/>
              <a:t>Click to edit Master text styles</a:t>
            </a:r>
          </a:p>
          <a:p>
            <a:pPr lvl="1"/>
            <a:r>
              <a:rPr lang="en-US" altLang="ja-JP"/>
              <a:t>Second level</a:t>
            </a:r>
          </a:p>
          <a:p>
            <a:pPr lvl="2"/>
            <a:r>
              <a:rPr lang="en-US" altLang="ja-JP"/>
              <a:t>Third level</a:t>
            </a:r>
          </a:p>
          <a:p>
            <a:pPr lvl="3"/>
            <a:r>
              <a:rPr lang="en-US" altLang="ja-JP"/>
              <a:t>Fourth level</a:t>
            </a:r>
          </a:p>
          <a:p>
            <a:pPr lvl="4"/>
            <a:r>
              <a:rPr lang="en-US" altLang="ja-JP"/>
              <a:t>Fifth level</a:t>
            </a:r>
            <a:endParaRPr lang="en-GB" dirty="0"/>
          </a:p>
        </p:txBody>
      </p:sp>
      <p:sp>
        <p:nvSpPr>
          <p:cNvPr id="8" name="Title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gray">
          <a:xfrm>
            <a:off x="287453" y="1"/>
            <a:ext cx="11625600" cy="1011600"/>
          </a:xfrm>
          <a:prstGeom prst="rect">
            <a:avLst/>
          </a:prstGeom>
        </p:spPr>
        <p:txBody>
          <a:bodyPr anchor="b"/>
          <a:lstStyle/>
          <a:p>
            <a:pPr lvl="0"/>
            <a:r>
              <a:rPr lang="en-US" altLang="ja-JP"/>
              <a:t>Click to edit Master title style</a:t>
            </a:r>
            <a:endParaRPr lang="en-GB" dirty="0"/>
          </a:p>
        </p:txBody>
      </p:sp>
      <p:sp>
        <p:nvSpPr>
          <p:cNvPr id="9" name="Content"/>
          <p:cNvSpPr>
            <a:spLocks noGrp="1"/>
          </p:cNvSpPr>
          <p:nvPr>
            <p:ph idx="10" hasCustomPrompt="1"/>
          </p:nvPr>
        </p:nvSpPr>
        <p:spPr bwMode="gray">
          <a:xfrm>
            <a:off x="287453" y="6046048"/>
            <a:ext cx="11625600" cy="123111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en-US" sz="800" dirty="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/>
            </a:lvl6pPr>
            <a:lvl7pPr fontAlgn="base">
              <a:lnSpc>
                <a:spcPct val="100000"/>
              </a:lnSpc>
              <a:spcAft>
                <a:spcPts val="0"/>
              </a:spcAft>
              <a:defRPr/>
            </a:lvl7pPr>
            <a:lvl8pPr fontAlgn="base">
              <a:lnSpc>
                <a:spcPct val="100000"/>
              </a:lnSpc>
              <a:spcAft>
                <a:spcPts val="0"/>
              </a:spcAft>
              <a:defRPr/>
            </a:lvl8pPr>
            <a:lvl9pPr fontAlgn="base">
              <a:lnSpc>
                <a:spcPct val="100000"/>
              </a:lnSpc>
              <a:spcAft>
                <a:spcPts val="0"/>
              </a:spcAft>
              <a:defRPr/>
            </a:lvl9pPr>
          </a:lstStyle>
          <a:p>
            <a:pPr lvl="0"/>
            <a:r>
              <a:rPr lang="en-GB" dirty="0"/>
              <a:t>Source: </a:t>
            </a:r>
          </a:p>
        </p:txBody>
      </p:sp>
    </p:spTree>
    <p:extLst>
      <p:ext uri="{BB962C8B-B14F-4D97-AF65-F5344CB8AC3E}">
        <p14:creationId xmlns:p14="http://schemas.microsoft.com/office/powerpoint/2010/main" val="2824945799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with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Content Right"/>
          <p:cNvSpPr>
            <a:spLocks noGrp="1"/>
          </p:cNvSpPr>
          <p:nvPr>
            <p:ph idx="11"/>
          </p:nvPr>
        </p:nvSpPr>
        <p:spPr bwMode="gray">
          <a:xfrm>
            <a:off x="6393053" y="1882448"/>
            <a:ext cx="5520000" cy="4286711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sz="1200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 sz="1200"/>
            </a:lvl6pPr>
            <a:lvl7pPr fontAlgn="base">
              <a:lnSpc>
                <a:spcPct val="100000"/>
              </a:lnSpc>
              <a:spcAft>
                <a:spcPts val="0"/>
              </a:spcAft>
              <a:defRPr sz="1200"/>
            </a:lvl7pPr>
            <a:lvl8pPr fontAlgn="base">
              <a:lnSpc>
                <a:spcPct val="100000"/>
              </a:lnSpc>
              <a:spcAft>
                <a:spcPts val="0"/>
              </a:spcAft>
              <a:defRPr sz="1200"/>
            </a:lvl8pPr>
            <a:lvl9pPr fontAlgn="base">
              <a:lnSpc>
                <a:spcPct val="100000"/>
              </a:lnSpc>
              <a:spcAft>
                <a:spcPts val="0"/>
              </a:spcAft>
              <a:defRPr sz="1200"/>
            </a:lvl9pPr>
          </a:lstStyle>
          <a:p>
            <a:pPr lvl="0"/>
            <a:r>
              <a:rPr lang="en-US" altLang="ja-JP"/>
              <a:t>Click to edit Master text styles</a:t>
            </a:r>
          </a:p>
          <a:p>
            <a:pPr lvl="1"/>
            <a:r>
              <a:rPr lang="en-US" altLang="ja-JP"/>
              <a:t>Second level</a:t>
            </a:r>
          </a:p>
          <a:p>
            <a:pPr lvl="2"/>
            <a:r>
              <a:rPr lang="en-US" altLang="ja-JP"/>
              <a:t>Third level</a:t>
            </a:r>
          </a:p>
          <a:p>
            <a:pPr lvl="3"/>
            <a:r>
              <a:rPr lang="en-US" altLang="ja-JP"/>
              <a:t>Fourth level</a:t>
            </a:r>
          </a:p>
          <a:p>
            <a:pPr lvl="4"/>
            <a:r>
              <a:rPr lang="en-US" altLang="ja-JP"/>
              <a:t>Fifth level</a:t>
            </a:r>
            <a:endParaRPr lang="en-GB" dirty="0"/>
          </a:p>
        </p:txBody>
      </p:sp>
      <p:sp>
        <p:nvSpPr>
          <p:cNvPr id="15" name="Content Left"/>
          <p:cNvSpPr>
            <a:spLocks noGrp="1"/>
          </p:cNvSpPr>
          <p:nvPr>
            <p:ph idx="1"/>
          </p:nvPr>
        </p:nvSpPr>
        <p:spPr bwMode="gray">
          <a:xfrm>
            <a:off x="287451" y="1882448"/>
            <a:ext cx="5520000" cy="4286711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fontAlgn="base">
              <a:lnSpc>
                <a:spcPct val="100000"/>
              </a:lnSpc>
              <a:spcAft>
                <a:spcPts val="0"/>
              </a:spcAft>
              <a:defRPr lang="en-US" sz="120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sz="120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sz="120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sz="120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sz="1200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 sz="1200"/>
            </a:lvl6pPr>
            <a:lvl7pPr fontAlgn="base">
              <a:lnSpc>
                <a:spcPct val="100000"/>
              </a:lnSpc>
              <a:spcAft>
                <a:spcPts val="0"/>
              </a:spcAft>
              <a:defRPr sz="1200"/>
            </a:lvl7pPr>
            <a:lvl8pPr fontAlgn="base">
              <a:lnSpc>
                <a:spcPct val="100000"/>
              </a:lnSpc>
              <a:spcAft>
                <a:spcPts val="0"/>
              </a:spcAft>
              <a:defRPr sz="1200"/>
            </a:lvl8pPr>
            <a:lvl9pPr fontAlgn="base">
              <a:lnSpc>
                <a:spcPct val="100000"/>
              </a:lnSpc>
              <a:spcAft>
                <a:spcPts val="0"/>
              </a:spcAft>
              <a:defRPr sz="1200"/>
            </a:lvl9pPr>
          </a:lstStyle>
          <a:p>
            <a:pPr lvl="0"/>
            <a:r>
              <a:rPr lang="en-US" altLang="ja-JP"/>
              <a:t>Click to edit Master text styles</a:t>
            </a:r>
          </a:p>
          <a:p>
            <a:pPr lvl="1"/>
            <a:r>
              <a:rPr lang="en-US" altLang="ja-JP"/>
              <a:t>Second level</a:t>
            </a:r>
          </a:p>
          <a:p>
            <a:pPr lvl="2"/>
            <a:r>
              <a:rPr lang="en-US" altLang="ja-JP"/>
              <a:t>Third level</a:t>
            </a:r>
          </a:p>
          <a:p>
            <a:pPr lvl="3"/>
            <a:r>
              <a:rPr lang="en-US" altLang="ja-JP"/>
              <a:t>Fourth level</a:t>
            </a:r>
          </a:p>
          <a:p>
            <a:pPr lvl="4"/>
            <a:r>
              <a:rPr lang="en-US" altLang="ja-JP"/>
              <a:t>Fifth level</a:t>
            </a:r>
            <a:endParaRPr lang="en-GB" dirty="0"/>
          </a:p>
        </p:txBody>
      </p:sp>
      <p:sp>
        <p:nvSpPr>
          <p:cNvPr id="14" name="Heading Right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6393053" y="1341114"/>
            <a:ext cx="5520000" cy="369332"/>
          </a:xfrm>
        </p:spPr>
        <p:txBody>
          <a:bodyPr wrap="square" lIns="0" tIns="0" rIns="0" bIns="0"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200" b="1">
                <a:solidFill>
                  <a:schemeClr val="accent1"/>
                </a:solidFill>
                <a:latin typeface="+mn-lt"/>
                <a:sym typeface="+mn-lt"/>
              </a:defRPr>
            </a:lvl1pPr>
            <a:lvl2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200">
                <a:solidFill>
                  <a:schemeClr val="accent1"/>
                </a:solidFill>
                <a:latin typeface="+mn-lt"/>
                <a:sym typeface="+mn-lt"/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Heading 12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2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13" name="Heading Left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287455" y="1341114"/>
            <a:ext cx="5520000" cy="369332"/>
          </a:xfrm>
        </p:spPr>
        <p:txBody>
          <a:bodyPr wrap="square" lIns="0" tIns="0" rIns="0" bIns="0"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200" b="1">
                <a:solidFill>
                  <a:schemeClr val="accent1"/>
                </a:solidFill>
                <a:latin typeface="+mn-lt"/>
                <a:sym typeface="+mn-lt"/>
              </a:defRPr>
            </a:lvl1pPr>
            <a:lvl2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200">
                <a:solidFill>
                  <a:schemeClr val="accent1"/>
                </a:solidFill>
                <a:latin typeface="+mn-lt"/>
                <a:sym typeface="+mn-lt"/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Heading 12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2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8" name="Title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gray">
          <a:xfrm>
            <a:off x="287453" y="1"/>
            <a:ext cx="11625600" cy="1011600"/>
          </a:xfrm>
          <a:prstGeom prst="rect">
            <a:avLst/>
          </a:prstGeom>
        </p:spPr>
        <p:txBody>
          <a:bodyPr anchor="b"/>
          <a:lstStyle/>
          <a:p>
            <a:pPr lvl="0"/>
            <a:r>
              <a:rPr lang="en-US" altLang="ja-JP"/>
              <a:t>Click to edit Master title style</a:t>
            </a:r>
            <a:endParaRPr lang="en-GB" dirty="0"/>
          </a:p>
        </p:txBody>
      </p:sp>
      <p:sp>
        <p:nvSpPr>
          <p:cNvPr id="9" name="Content"/>
          <p:cNvSpPr>
            <a:spLocks noGrp="1"/>
          </p:cNvSpPr>
          <p:nvPr>
            <p:ph idx="10" hasCustomPrompt="1"/>
          </p:nvPr>
        </p:nvSpPr>
        <p:spPr bwMode="gray">
          <a:xfrm>
            <a:off x="287453" y="6046048"/>
            <a:ext cx="11625600" cy="123111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en-US" sz="800" dirty="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/>
            </a:lvl6pPr>
            <a:lvl7pPr fontAlgn="base">
              <a:lnSpc>
                <a:spcPct val="100000"/>
              </a:lnSpc>
              <a:spcAft>
                <a:spcPts val="0"/>
              </a:spcAft>
              <a:defRPr/>
            </a:lvl7pPr>
            <a:lvl8pPr fontAlgn="base">
              <a:lnSpc>
                <a:spcPct val="100000"/>
              </a:lnSpc>
              <a:spcAft>
                <a:spcPts val="0"/>
              </a:spcAft>
              <a:defRPr/>
            </a:lvl8pPr>
            <a:lvl9pPr fontAlgn="base">
              <a:lnSpc>
                <a:spcPct val="100000"/>
              </a:lnSpc>
              <a:spcAft>
                <a:spcPts val="0"/>
              </a:spcAft>
              <a:defRPr/>
            </a:lvl9pPr>
          </a:lstStyle>
          <a:p>
            <a:pPr lvl="0"/>
            <a:r>
              <a:rPr lang="en-GB" dirty="0"/>
              <a:t>Source: </a:t>
            </a:r>
          </a:p>
        </p:txBody>
      </p:sp>
    </p:spTree>
    <p:extLst>
      <p:ext uri="{BB962C8B-B14F-4D97-AF65-F5344CB8AC3E}">
        <p14:creationId xmlns:p14="http://schemas.microsoft.com/office/powerpoint/2010/main" val="2789978570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text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Right Bottom"/>
          <p:cNvSpPr>
            <a:spLocks noGrp="1"/>
          </p:cNvSpPr>
          <p:nvPr>
            <p:ph idx="27"/>
          </p:nvPr>
        </p:nvSpPr>
        <p:spPr bwMode="gray">
          <a:xfrm>
            <a:off x="6393053" y="3842316"/>
            <a:ext cx="5520000" cy="2326843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US" altLang="ja-JP" sz="1000" smtClean="0">
                <a:latin typeface="+mn-lt"/>
                <a:ea typeface="+mn-ea"/>
                <a:sym typeface="+mn-lt"/>
              </a:defRPr>
            </a:lvl1pPr>
            <a:lvl2pPr>
              <a:defRPr lang="en-US" altLang="ja-JP" sz="1000" smtClean="0">
                <a:latin typeface="+mn-lt"/>
                <a:ea typeface="+mn-ea"/>
                <a:sym typeface="+mn-lt"/>
              </a:defRPr>
            </a:lvl2pPr>
            <a:lvl3pPr>
              <a:defRPr lang="en-US" altLang="ja-JP" sz="1000" smtClean="0">
                <a:latin typeface="+mn-lt"/>
                <a:ea typeface="+mn-ea"/>
                <a:sym typeface="+mn-lt"/>
              </a:defRPr>
            </a:lvl3pPr>
            <a:lvl4pPr>
              <a:defRPr lang="en-US" altLang="ja-JP" sz="1000" smtClean="0">
                <a:latin typeface="+mn-lt"/>
                <a:ea typeface="+mn-ea"/>
                <a:sym typeface="+mn-lt"/>
              </a:defRPr>
            </a:lvl4pPr>
            <a:lvl5pPr>
              <a:defRPr lang="en-GB" sz="1000" dirty="0" smtClean="0">
                <a:latin typeface="+mn-lt"/>
                <a:ea typeface="+mn-ea"/>
                <a:sym typeface="+mn-lt"/>
              </a:defRPr>
            </a:lvl5pPr>
          </a:lstStyle>
          <a:p>
            <a:pPr lvl="0">
              <a:lnSpc>
                <a:spcPct val="100000"/>
              </a:lnSpc>
            </a:pPr>
            <a:r>
              <a:rPr lang="en-US" altLang="ja-JP"/>
              <a:t>Click to edit Master text styles</a:t>
            </a:r>
          </a:p>
          <a:p>
            <a:pPr lvl="1">
              <a:lnSpc>
                <a:spcPct val="100000"/>
              </a:lnSpc>
            </a:pPr>
            <a:r>
              <a:rPr lang="en-US" altLang="ja-JP"/>
              <a:t>Second level</a:t>
            </a:r>
          </a:p>
          <a:p>
            <a:pPr lvl="2">
              <a:lnSpc>
                <a:spcPct val="100000"/>
              </a:lnSpc>
            </a:pPr>
            <a:r>
              <a:rPr lang="en-US" altLang="ja-JP"/>
              <a:t>Third level</a:t>
            </a:r>
          </a:p>
          <a:p>
            <a:pPr lvl="3">
              <a:lnSpc>
                <a:spcPct val="100000"/>
              </a:lnSpc>
            </a:pPr>
            <a:r>
              <a:rPr lang="en-US" altLang="ja-JP"/>
              <a:t>Fourth level</a:t>
            </a:r>
          </a:p>
          <a:p>
            <a:pPr lvl="4">
              <a:lnSpc>
                <a:spcPct val="100000"/>
              </a:lnSpc>
            </a:pPr>
            <a:r>
              <a:rPr lang="en-US" altLang="ja-JP"/>
              <a:t>Fifth level</a:t>
            </a:r>
            <a:endParaRPr lang="en-GB" dirty="0"/>
          </a:p>
        </p:txBody>
      </p:sp>
      <p:sp>
        <p:nvSpPr>
          <p:cNvPr id="4" name="Content Left Bottom"/>
          <p:cNvSpPr>
            <a:spLocks noGrp="1"/>
          </p:cNvSpPr>
          <p:nvPr>
            <p:ph idx="28"/>
          </p:nvPr>
        </p:nvSpPr>
        <p:spPr bwMode="gray">
          <a:xfrm>
            <a:off x="287455" y="3842316"/>
            <a:ext cx="5520000" cy="2326843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US" altLang="ja-JP" sz="1000" smtClean="0">
                <a:latin typeface="+mn-lt"/>
                <a:ea typeface="+mn-ea"/>
                <a:sym typeface="+mn-lt"/>
              </a:defRPr>
            </a:lvl1pPr>
            <a:lvl2pPr>
              <a:defRPr lang="en-US" altLang="ja-JP" sz="1000" smtClean="0">
                <a:latin typeface="+mn-lt"/>
                <a:ea typeface="+mn-ea"/>
                <a:sym typeface="+mn-lt"/>
              </a:defRPr>
            </a:lvl2pPr>
            <a:lvl3pPr>
              <a:defRPr lang="en-US" altLang="ja-JP" sz="1000" smtClean="0">
                <a:latin typeface="+mn-lt"/>
                <a:ea typeface="+mn-ea"/>
                <a:sym typeface="+mn-lt"/>
              </a:defRPr>
            </a:lvl3pPr>
            <a:lvl4pPr>
              <a:defRPr lang="en-US" altLang="ja-JP" sz="1000" smtClean="0">
                <a:latin typeface="+mn-lt"/>
                <a:ea typeface="+mn-ea"/>
                <a:sym typeface="+mn-lt"/>
              </a:defRPr>
            </a:lvl4pPr>
            <a:lvl5pPr>
              <a:defRPr lang="en-GB" sz="1000" dirty="0" smtClean="0">
                <a:latin typeface="+mn-lt"/>
                <a:ea typeface="+mn-ea"/>
                <a:sym typeface="+mn-lt"/>
              </a:defRPr>
            </a:lvl5pPr>
          </a:lstStyle>
          <a:p>
            <a:pPr lvl="0">
              <a:lnSpc>
                <a:spcPct val="100000"/>
              </a:lnSpc>
            </a:pPr>
            <a:r>
              <a:rPr lang="en-US" altLang="ja-JP"/>
              <a:t>Click to edit Master text styles</a:t>
            </a:r>
          </a:p>
          <a:p>
            <a:pPr lvl="1">
              <a:lnSpc>
                <a:spcPct val="100000"/>
              </a:lnSpc>
            </a:pPr>
            <a:r>
              <a:rPr lang="en-US" altLang="ja-JP"/>
              <a:t>Second level</a:t>
            </a:r>
          </a:p>
          <a:p>
            <a:pPr lvl="2">
              <a:lnSpc>
                <a:spcPct val="100000"/>
              </a:lnSpc>
            </a:pPr>
            <a:r>
              <a:rPr lang="en-US" altLang="ja-JP"/>
              <a:t>Third level</a:t>
            </a:r>
          </a:p>
          <a:p>
            <a:pPr lvl="3">
              <a:lnSpc>
                <a:spcPct val="100000"/>
              </a:lnSpc>
            </a:pPr>
            <a:r>
              <a:rPr lang="en-US" altLang="ja-JP"/>
              <a:t>Fourth level</a:t>
            </a:r>
          </a:p>
          <a:p>
            <a:pPr lvl="4">
              <a:lnSpc>
                <a:spcPct val="100000"/>
              </a:lnSpc>
            </a:pPr>
            <a:r>
              <a:rPr lang="en-US" altLang="ja-JP"/>
              <a:t>Fifth level</a:t>
            </a:r>
            <a:endParaRPr lang="en-GB" dirty="0"/>
          </a:p>
        </p:txBody>
      </p:sp>
      <p:sp>
        <p:nvSpPr>
          <p:cNvPr id="8" name="Content Right Top"/>
          <p:cNvSpPr>
            <a:spLocks noGrp="1"/>
          </p:cNvSpPr>
          <p:nvPr>
            <p:ph idx="26"/>
          </p:nvPr>
        </p:nvSpPr>
        <p:spPr bwMode="gray">
          <a:xfrm>
            <a:off x="6393053" y="1341114"/>
            <a:ext cx="5520000" cy="2325600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US" altLang="ja-JP" sz="1000" smtClean="0">
                <a:latin typeface="+mn-lt"/>
                <a:ea typeface="+mn-ea"/>
                <a:sym typeface="+mn-lt"/>
              </a:defRPr>
            </a:lvl1pPr>
            <a:lvl2pPr>
              <a:defRPr lang="en-US" altLang="ja-JP" sz="1000" smtClean="0">
                <a:latin typeface="+mn-lt"/>
                <a:ea typeface="+mn-ea"/>
                <a:sym typeface="+mn-lt"/>
              </a:defRPr>
            </a:lvl2pPr>
            <a:lvl3pPr>
              <a:defRPr lang="en-US" altLang="ja-JP" sz="1000" smtClean="0">
                <a:latin typeface="+mn-lt"/>
                <a:ea typeface="+mn-ea"/>
                <a:sym typeface="+mn-lt"/>
              </a:defRPr>
            </a:lvl3pPr>
            <a:lvl4pPr>
              <a:defRPr lang="en-US" altLang="ja-JP" sz="1000" smtClean="0">
                <a:latin typeface="+mn-lt"/>
                <a:ea typeface="+mn-ea"/>
                <a:sym typeface="+mn-lt"/>
              </a:defRPr>
            </a:lvl4pPr>
            <a:lvl5pPr>
              <a:defRPr lang="en-GB" sz="1000" dirty="0" smtClean="0">
                <a:latin typeface="+mn-lt"/>
                <a:ea typeface="+mn-ea"/>
                <a:sym typeface="+mn-lt"/>
              </a:defRPr>
            </a:lvl5pPr>
          </a:lstStyle>
          <a:p>
            <a:pPr lvl="0">
              <a:lnSpc>
                <a:spcPct val="100000"/>
              </a:lnSpc>
            </a:pPr>
            <a:r>
              <a:rPr lang="en-US" altLang="ja-JP"/>
              <a:t>Click to edit Master text styles</a:t>
            </a:r>
          </a:p>
          <a:p>
            <a:pPr lvl="1">
              <a:lnSpc>
                <a:spcPct val="100000"/>
              </a:lnSpc>
            </a:pPr>
            <a:r>
              <a:rPr lang="en-US" altLang="ja-JP"/>
              <a:t>Second level</a:t>
            </a:r>
          </a:p>
          <a:p>
            <a:pPr lvl="2">
              <a:lnSpc>
                <a:spcPct val="100000"/>
              </a:lnSpc>
            </a:pPr>
            <a:r>
              <a:rPr lang="en-US" altLang="ja-JP"/>
              <a:t>Third level</a:t>
            </a:r>
          </a:p>
          <a:p>
            <a:pPr lvl="3">
              <a:lnSpc>
                <a:spcPct val="100000"/>
              </a:lnSpc>
            </a:pPr>
            <a:r>
              <a:rPr lang="en-US" altLang="ja-JP"/>
              <a:t>Fourth level</a:t>
            </a:r>
          </a:p>
          <a:p>
            <a:pPr lvl="4">
              <a:lnSpc>
                <a:spcPct val="100000"/>
              </a:lnSpc>
            </a:pPr>
            <a:r>
              <a:rPr lang="en-US" altLang="ja-JP"/>
              <a:t>Fifth level</a:t>
            </a:r>
            <a:endParaRPr lang="en-GB" dirty="0"/>
          </a:p>
        </p:txBody>
      </p:sp>
      <p:sp>
        <p:nvSpPr>
          <p:cNvPr id="9" name="Content Left Top"/>
          <p:cNvSpPr>
            <a:spLocks noGrp="1"/>
          </p:cNvSpPr>
          <p:nvPr>
            <p:ph idx="1"/>
          </p:nvPr>
        </p:nvSpPr>
        <p:spPr bwMode="gray">
          <a:xfrm>
            <a:off x="287455" y="1341114"/>
            <a:ext cx="5520000" cy="2325600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US" altLang="ja-JP" sz="1000" smtClean="0">
                <a:latin typeface="+mn-lt"/>
                <a:ea typeface="+mn-ea"/>
                <a:sym typeface="+mn-lt"/>
              </a:defRPr>
            </a:lvl1pPr>
            <a:lvl2pPr>
              <a:defRPr lang="en-US" altLang="ja-JP" sz="1000" smtClean="0">
                <a:latin typeface="+mn-lt"/>
                <a:ea typeface="+mn-ea"/>
                <a:sym typeface="+mn-lt"/>
              </a:defRPr>
            </a:lvl2pPr>
            <a:lvl3pPr>
              <a:defRPr lang="en-US" altLang="ja-JP" sz="1000" smtClean="0">
                <a:latin typeface="+mn-lt"/>
                <a:ea typeface="+mn-ea"/>
                <a:sym typeface="+mn-lt"/>
              </a:defRPr>
            </a:lvl3pPr>
            <a:lvl4pPr>
              <a:defRPr lang="en-US" altLang="ja-JP" sz="1000" smtClean="0">
                <a:latin typeface="+mn-lt"/>
                <a:ea typeface="+mn-ea"/>
                <a:sym typeface="+mn-lt"/>
              </a:defRPr>
            </a:lvl4pPr>
            <a:lvl5pPr>
              <a:defRPr lang="en-GB" sz="1000" dirty="0" smtClean="0">
                <a:latin typeface="+mn-lt"/>
                <a:ea typeface="+mn-ea"/>
                <a:sym typeface="+mn-lt"/>
              </a:defRPr>
            </a:lvl5pPr>
          </a:lstStyle>
          <a:p>
            <a:pPr lvl="0">
              <a:lnSpc>
                <a:spcPct val="100000"/>
              </a:lnSpc>
            </a:pPr>
            <a:r>
              <a:rPr lang="en-US" altLang="ja-JP"/>
              <a:t>Click to edit Master text styles</a:t>
            </a:r>
          </a:p>
          <a:p>
            <a:pPr lvl="1">
              <a:lnSpc>
                <a:spcPct val="100000"/>
              </a:lnSpc>
            </a:pPr>
            <a:r>
              <a:rPr lang="en-US" altLang="ja-JP"/>
              <a:t>Second level</a:t>
            </a:r>
          </a:p>
          <a:p>
            <a:pPr lvl="2">
              <a:lnSpc>
                <a:spcPct val="100000"/>
              </a:lnSpc>
            </a:pPr>
            <a:r>
              <a:rPr lang="en-US" altLang="ja-JP"/>
              <a:t>Third level</a:t>
            </a:r>
          </a:p>
          <a:p>
            <a:pPr lvl="3">
              <a:lnSpc>
                <a:spcPct val="100000"/>
              </a:lnSpc>
            </a:pPr>
            <a:r>
              <a:rPr lang="en-US" altLang="ja-JP"/>
              <a:t>Fourth level</a:t>
            </a:r>
          </a:p>
          <a:p>
            <a:pPr lvl="4">
              <a:lnSpc>
                <a:spcPct val="100000"/>
              </a:lnSpc>
            </a:pPr>
            <a:r>
              <a:rPr lang="en-US" altLang="ja-JP"/>
              <a:t>Fifth level</a:t>
            </a:r>
            <a:endParaRPr lang="en-GB" dirty="0"/>
          </a:p>
        </p:txBody>
      </p:sp>
      <p:sp>
        <p:nvSpPr>
          <p:cNvPr id="10" name="Title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gray">
          <a:xfrm>
            <a:off x="287453" y="1"/>
            <a:ext cx="11625600" cy="1011600"/>
          </a:xfrm>
          <a:prstGeom prst="rect">
            <a:avLst/>
          </a:prstGeom>
        </p:spPr>
        <p:txBody>
          <a:bodyPr anchor="b"/>
          <a:lstStyle/>
          <a:p>
            <a:pPr lvl="0"/>
            <a:r>
              <a:rPr lang="en-US" altLang="ja-JP"/>
              <a:t>Click to edit Master title style</a:t>
            </a:r>
            <a:endParaRPr lang="en-GB" dirty="0"/>
          </a:p>
        </p:txBody>
      </p:sp>
      <p:sp>
        <p:nvSpPr>
          <p:cNvPr id="11" name="Content"/>
          <p:cNvSpPr>
            <a:spLocks noGrp="1"/>
          </p:cNvSpPr>
          <p:nvPr>
            <p:ph idx="10" hasCustomPrompt="1"/>
          </p:nvPr>
        </p:nvSpPr>
        <p:spPr bwMode="gray">
          <a:xfrm>
            <a:off x="287453" y="6046048"/>
            <a:ext cx="11625600" cy="123111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en-US" sz="800" dirty="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/>
            </a:lvl6pPr>
            <a:lvl7pPr fontAlgn="base">
              <a:lnSpc>
                <a:spcPct val="100000"/>
              </a:lnSpc>
              <a:spcAft>
                <a:spcPts val="0"/>
              </a:spcAft>
              <a:defRPr/>
            </a:lvl7pPr>
            <a:lvl8pPr fontAlgn="base">
              <a:lnSpc>
                <a:spcPct val="100000"/>
              </a:lnSpc>
              <a:spcAft>
                <a:spcPts val="0"/>
              </a:spcAft>
              <a:defRPr/>
            </a:lvl8pPr>
            <a:lvl9pPr fontAlgn="base">
              <a:lnSpc>
                <a:spcPct val="100000"/>
              </a:lnSpc>
              <a:spcAft>
                <a:spcPts val="0"/>
              </a:spcAft>
              <a:defRPr/>
            </a:lvl9pPr>
          </a:lstStyle>
          <a:p>
            <a:pPr lvl="0"/>
            <a:r>
              <a:rPr lang="en-GB" dirty="0"/>
              <a:t>Source: </a:t>
            </a:r>
          </a:p>
        </p:txBody>
      </p:sp>
    </p:spTree>
    <p:extLst>
      <p:ext uri="{BB962C8B-B14F-4D97-AF65-F5344CB8AC3E}">
        <p14:creationId xmlns:p14="http://schemas.microsoft.com/office/powerpoint/2010/main" val="1603021777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textboxes with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Right Top"/>
          <p:cNvSpPr>
            <a:spLocks noGrp="1"/>
          </p:cNvSpPr>
          <p:nvPr>
            <p:ph idx="29"/>
          </p:nvPr>
        </p:nvSpPr>
        <p:spPr bwMode="gray">
          <a:xfrm>
            <a:off x="6393053" y="1814188"/>
            <a:ext cx="5520000" cy="1852526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US" altLang="ja-JP" sz="1000" smtClean="0">
                <a:latin typeface="+mn-lt"/>
                <a:ea typeface="+mn-ea"/>
                <a:sym typeface="+mn-lt"/>
              </a:defRPr>
            </a:lvl1pPr>
            <a:lvl2pPr>
              <a:defRPr lang="en-US" altLang="ja-JP" sz="1000" smtClean="0">
                <a:latin typeface="+mn-lt"/>
                <a:ea typeface="+mn-ea"/>
                <a:sym typeface="+mn-lt"/>
              </a:defRPr>
            </a:lvl2pPr>
            <a:lvl3pPr>
              <a:defRPr lang="en-US" altLang="ja-JP" sz="1000" smtClean="0">
                <a:latin typeface="+mn-lt"/>
                <a:ea typeface="+mn-ea"/>
                <a:sym typeface="+mn-lt"/>
              </a:defRPr>
            </a:lvl3pPr>
            <a:lvl4pPr>
              <a:defRPr lang="en-US" altLang="ja-JP" sz="1000" smtClean="0">
                <a:latin typeface="+mn-lt"/>
                <a:ea typeface="+mn-ea"/>
                <a:sym typeface="+mn-lt"/>
              </a:defRPr>
            </a:lvl4pPr>
            <a:lvl5pPr>
              <a:defRPr lang="en-GB" sz="1000" dirty="0" smtClean="0">
                <a:latin typeface="+mn-lt"/>
                <a:ea typeface="+mn-ea"/>
                <a:sym typeface="+mn-lt"/>
              </a:defRPr>
            </a:lvl5pPr>
          </a:lstStyle>
          <a:p>
            <a:pPr lvl="0">
              <a:lnSpc>
                <a:spcPct val="100000"/>
              </a:lnSpc>
            </a:pPr>
            <a:r>
              <a:rPr lang="en-US" altLang="ja-JP"/>
              <a:t>Click to edit Master text styles</a:t>
            </a:r>
          </a:p>
          <a:p>
            <a:pPr lvl="1">
              <a:lnSpc>
                <a:spcPct val="100000"/>
              </a:lnSpc>
            </a:pPr>
            <a:r>
              <a:rPr lang="en-US" altLang="ja-JP"/>
              <a:t>Second level</a:t>
            </a:r>
          </a:p>
          <a:p>
            <a:pPr lvl="2">
              <a:lnSpc>
                <a:spcPct val="100000"/>
              </a:lnSpc>
            </a:pPr>
            <a:r>
              <a:rPr lang="en-US" altLang="ja-JP"/>
              <a:t>Third level</a:t>
            </a:r>
          </a:p>
          <a:p>
            <a:pPr lvl="3">
              <a:lnSpc>
                <a:spcPct val="100000"/>
              </a:lnSpc>
            </a:pPr>
            <a:r>
              <a:rPr lang="en-US" altLang="ja-JP"/>
              <a:t>Fourth level</a:t>
            </a:r>
          </a:p>
          <a:p>
            <a:pPr lvl="4">
              <a:lnSpc>
                <a:spcPct val="100000"/>
              </a:lnSpc>
            </a:pPr>
            <a:r>
              <a:rPr lang="en-US" altLang="ja-JP"/>
              <a:t>Fifth level</a:t>
            </a:r>
            <a:endParaRPr lang="en-GB" dirty="0"/>
          </a:p>
        </p:txBody>
      </p:sp>
      <p:sp>
        <p:nvSpPr>
          <p:cNvPr id="9" name="Content Left Top"/>
          <p:cNvSpPr>
            <a:spLocks noGrp="1"/>
          </p:cNvSpPr>
          <p:nvPr>
            <p:ph idx="1"/>
          </p:nvPr>
        </p:nvSpPr>
        <p:spPr bwMode="gray">
          <a:xfrm>
            <a:off x="287455" y="1814188"/>
            <a:ext cx="5520000" cy="1852526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US" altLang="ja-JP" sz="1000" smtClean="0">
                <a:latin typeface="+mn-lt"/>
                <a:ea typeface="+mn-ea"/>
                <a:sym typeface="+mn-lt"/>
              </a:defRPr>
            </a:lvl1pPr>
            <a:lvl2pPr>
              <a:defRPr lang="en-US" altLang="ja-JP" sz="1000" smtClean="0">
                <a:latin typeface="+mn-lt"/>
                <a:ea typeface="+mn-ea"/>
                <a:sym typeface="+mn-lt"/>
              </a:defRPr>
            </a:lvl2pPr>
            <a:lvl3pPr>
              <a:defRPr lang="en-US" altLang="ja-JP" sz="1000" smtClean="0">
                <a:latin typeface="+mn-lt"/>
                <a:ea typeface="+mn-ea"/>
                <a:sym typeface="+mn-lt"/>
              </a:defRPr>
            </a:lvl3pPr>
            <a:lvl4pPr>
              <a:defRPr lang="en-US" altLang="ja-JP" sz="1000" smtClean="0">
                <a:latin typeface="+mn-lt"/>
                <a:ea typeface="+mn-ea"/>
                <a:sym typeface="+mn-lt"/>
              </a:defRPr>
            </a:lvl4pPr>
            <a:lvl5pPr>
              <a:defRPr lang="en-GB" sz="1000" dirty="0" smtClean="0">
                <a:latin typeface="+mn-lt"/>
                <a:ea typeface="+mn-ea"/>
                <a:sym typeface="+mn-lt"/>
              </a:defRPr>
            </a:lvl5pPr>
          </a:lstStyle>
          <a:p>
            <a:pPr lvl="0">
              <a:lnSpc>
                <a:spcPct val="100000"/>
              </a:lnSpc>
            </a:pPr>
            <a:r>
              <a:rPr lang="en-US" altLang="ja-JP"/>
              <a:t>Click to edit Master text styles</a:t>
            </a:r>
          </a:p>
          <a:p>
            <a:pPr lvl="1">
              <a:lnSpc>
                <a:spcPct val="100000"/>
              </a:lnSpc>
            </a:pPr>
            <a:r>
              <a:rPr lang="en-US" altLang="ja-JP"/>
              <a:t>Second level</a:t>
            </a:r>
          </a:p>
          <a:p>
            <a:pPr lvl="2">
              <a:lnSpc>
                <a:spcPct val="100000"/>
              </a:lnSpc>
            </a:pPr>
            <a:r>
              <a:rPr lang="en-US" altLang="ja-JP"/>
              <a:t>Third level</a:t>
            </a:r>
          </a:p>
          <a:p>
            <a:pPr lvl="3">
              <a:lnSpc>
                <a:spcPct val="100000"/>
              </a:lnSpc>
            </a:pPr>
            <a:r>
              <a:rPr lang="en-US" altLang="ja-JP"/>
              <a:t>Fourth level</a:t>
            </a:r>
          </a:p>
          <a:p>
            <a:pPr lvl="4">
              <a:lnSpc>
                <a:spcPct val="100000"/>
              </a:lnSpc>
            </a:pPr>
            <a:r>
              <a:rPr lang="en-US" altLang="ja-JP"/>
              <a:t>Fifth level</a:t>
            </a:r>
            <a:endParaRPr lang="en-GB" dirty="0"/>
          </a:p>
        </p:txBody>
      </p:sp>
      <p:sp>
        <p:nvSpPr>
          <p:cNvPr id="11" name="Heading Right Top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6393053" y="1341115"/>
            <a:ext cx="5520000" cy="307777"/>
          </a:xfrm>
        </p:spPr>
        <p:txBody>
          <a:bodyPr wrap="square" lIns="0" tIns="0" rIns="0" bIns="0"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000" b="1">
                <a:solidFill>
                  <a:schemeClr val="accent1"/>
                </a:solidFill>
                <a:latin typeface="+mn-lt"/>
                <a:sym typeface="+mn-lt"/>
              </a:defRPr>
            </a:lvl1pPr>
            <a:lvl2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000">
                <a:solidFill>
                  <a:schemeClr val="accent1"/>
                </a:solidFill>
                <a:latin typeface="+mn-lt"/>
                <a:sym typeface="+mn-lt"/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Heading 10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10" name="Heading Left Top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287455" y="1341115"/>
            <a:ext cx="5520000" cy="307777"/>
          </a:xfrm>
        </p:spPr>
        <p:txBody>
          <a:bodyPr wrap="square" lIns="0" tIns="0" rIns="0" bIns="0"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000" b="1">
                <a:solidFill>
                  <a:schemeClr val="accent1"/>
                </a:solidFill>
                <a:latin typeface="+mn-lt"/>
                <a:sym typeface="+mn-lt"/>
              </a:defRPr>
            </a:lvl1pPr>
            <a:lvl2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000">
                <a:solidFill>
                  <a:schemeClr val="accent1"/>
                </a:solidFill>
                <a:latin typeface="+mn-lt"/>
                <a:sym typeface="+mn-lt"/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Heading 10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14" name="Title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gray">
          <a:xfrm>
            <a:off x="287453" y="1"/>
            <a:ext cx="11625600" cy="1011600"/>
          </a:xfrm>
          <a:prstGeom prst="rect">
            <a:avLst/>
          </a:prstGeom>
        </p:spPr>
        <p:txBody>
          <a:bodyPr anchor="b"/>
          <a:lstStyle/>
          <a:p>
            <a:pPr lvl="0"/>
            <a:r>
              <a:rPr lang="en-US" altLang="ja-JP"/>
              <a:t>Click to edit Master title style</a:t>
            </a:r>
            <a:endParaRPr lang="en-GB" dirty="0"/>
          </a:p>
        </p:txBody>
      </p:sp>
      <p:sp>
        <p:nvSpPr>
          <p:cNvPr id="15" name="Content"/>
          <p:cNvSpPr>
            <a:spLocks noGrp="1"/>
          </p:cNvSpPr>
          <p:nvPr>
            <p:ph idx="10" hasCustomPrompt="1"/>
          </p:nvPr>
        </p:nvSpPr>
        <p:spPr bwMode="gray">
          <a:xfrm>
            <a:off x="287453" y="6046048"/>
            <a:ext cx="11625600" cy="123111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en-US" sz="800" dirty="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/>
            </a:lvl6pPr>
            <a:lvl7pPr fontAlgn="base">
              <a:lnSpc>
                <a:spcPct val="100000"/>
              </a:lnSpc>
              <a:spcAft>
                <a:spcPts val="0"/>
              </a:spcAft>
              <a:defRPr/>
            </a:lvl7pPr>
            <a:lvl8pPr fontAlgn="base">
              <a:lnSpc>
                <a:spcPct val="100000"/>
              </a:lnSpc>
              <a:spcAft>
                <a:spcPts val="0"/>
              </a:spcAft>
              <a:defRPr/>
            </a:lvl8pPr>
            <a:lvl9pPr fontAlgn="base">
              <a:lnSpc>
                <a:spcPct val="100000"/>
              </a:lnSpc>
              <a:spcAft>
                <a:spcPts val="0"/>
              </a:spcAft>
              <a:defRPr/>
            </a:lvl9pPr>
          </a:lstStyle>
          <a:p>
            <a:pPr lvl="0"/>
            <a:r>
              <a:rPr lang="en-GB" dirty="0"/>
              <a:t>Source: </a:t>
            </a:r>
          </a:p>
        </p:txBody>
      </p:sp>
      <p:sp>
        <p:nvSpPr>
          <p:cNvPr id="21" name="Content Right Top"/>
          <p:cNvSpPr>
            <a:spLocks noGrp="1"/>
          </p:cNvSpPr>
          <p:nvPr>
            <p:ph idx="34"/>
          </p:nvPr>
        </p:nvSpPr>
        <p:spPr bwMode="gray">
          <a:xfrm>
            <a:off x="6393053" y="4316632"/>
            <a:ext cx="5520000" cy="1852526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US" altLang="ja-JP" sz="1000" smtClean="0">
                <a:latin typeface="+mn-lt"/>
                <a:ea typeface="+mn-ea"/>
                <a:sym typeface="+mn-lt"/>
              </a:defRPr>
            </a:lvl1pPr>
            <a:lvl2pPr>
              <a:defRPr lang="en-US" altLang="ja-JP" sz="1000" smtClean="0">
                <a:latin typeface="+mn-lt"/>
                <a:ea typeface="+mn-ea"/>
                <a:sym typeface="+mn-lt"/>
              </a:defRPr>
            </a:lvl2pPr>
            <a:lvl3pPr>
              <a:defRPr lang="en-US" altLang="ja-JP" sz="1000" smtClean="0">
                <a:latin typeface="+mn-lt"/>
                <a:ea typeface="+mn-ea"/>
                <a:sym typeface="+mn-lt"/>
              </a:defRPr>
            </a:lvl3pPr>
            <a:lvl4pPr>
              <a:defRPr lang="en-US" altLang="ja-JP" sz="1000" smtClean="0">
                <a:latin typeface="+mn-lt"/>
                <a:ea typeface="+mn-ea"/>
                <a:sym typeface="+mn-lt"/>
              </a:defRPr>
            </a:lvl4pPr>
            <a:lvl5pPr>
              <a:defRPr lang="en-GB" sz="1000" dirty="0" smtClean="0">
                <a:latin typeface="+mn-lt"/>
                <a:ea typeface="+mn-ea"/>
                <a:sym typeface="+mn-lt"/>
              </a:defRPr>
            </a:lvl5pPr>
          </a:lstStyle>
          <a:p>
            <a:pPr lvl="0">
              <a:lnSpc>
                <a:spcPct val="100000"/>
              </a:lnSpc>
            </a:pPr>
            <a:r>
              <a:rPr lang="en-US" altLang="ja-JP"/>
              <a:t>Click to edit Master text styles</a:t>
            </a:r>
          </a:p>
          <a:p>
            <a:pPr lvl="1">
              <a:lnSpc>
                <a:spcPct val="100000"/>
              </a:lnSpc>
            </a:pPr>
            <a:r>
              <a:rPr lang="en-US" altLang="ja-JP"/>
              <a:t>Second level</a:t>
            </a:r>
          </a:p>
          <a:p>
            <a:pPr lvl="2">
              <a:lnSpc>
                <a:spcPct val="100000"/>
              </a:lnSpc>
            </a:pPr>
            <a:r>
              <a:rPr lang="en-US" altLang="ja-JP"/>
              <a:t>Third level</a:t>
            </a:r>
          </a:p>
          <a:p>
            <a:pPr lvl="3">
              <a:lnSpc>
                <a:spcPct val="100000"/>
              </a:lnSpc>
            </a:pPr>
            <a:r>
              <a:rPr lang="en-US" altLang="ja-JP"/>
              <a:t>Fourth level</a:t>
            </a:r>
          </a:p>
          <a:p>
            <a:pPr lvl="4">
              <a:lnSpc>
                <a:spcPct val="100000"/>
              </a:lnSpc>
            </a:pPr>
            <a:r>
              <a:rPr lang="en-US" altLang="ja-JP"/>
              <a:t>Fifth level</a:t>
            </a:r>
            <a:endParaRPr lang="en-GB" dirty="0"/>
          </a:p>
        </p:txBody>
      </p:sp>
      <p:sp>
        <p:nvSpPr>
          <p:cNvPr id="22" name="Content Left Top"/>
          <p:cNvSpPr>
            <a:spLocks noGrp="1"/>
          </p:cNvSpPr>
          <p:nvPr>
            <p:ph idx="35"/>
          </p:nvPr>
        </p:nvSpPr>
        <p:spPr bwMode="gray">
          <a:xfrm>
            <a:off x="287455" y="4316632"/>
            <a:ext cx="5520000" cy="1852526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US" altLang="ja-JP" sz="1000" smtClean="0">
                <a:latin typeface="+mn-lt"/>
                <a:ea typeface="+mn-ea"/>
                <a:sym typeface="+mn-lt"/>
              </a:defRPr>
            </a:lvl1pPr>
            <a:lvl2pPr>
              <a:defRPr lang="en-US" altLang="ja-JP" sz="1000" smtClean="0">
                <a:latin typeface="+mn-lt"/>
                <a:ea typeface="+mn-ea"/>
                <a:sym typeface="+mn-lt"/>
              </a:defRPr>
            </a:lvl2pPr>
            <a:lvl3pPr>
              <a:defRPr lang="en-US" altLang="ja-JP" sz="1000" smtClean="0">
                <a:latin typeface="+mn-lt"/>
                <a:ea typeface="+mn-ea"/>
                <a:sym typeface="+mn-lt"/>
              </a:defRPr>
            </a:lvl3pPr>
            <a:lvl4pPr>
              <a:defRPr lang="en-US" altLang="ja-JP" sz="1000" smtClean="0">
                <a:latin typeface="+mn-lt"/>
                <a:ea typeface="+mn-ea"/>
                <a:sym typeface="+mn-lt"/>
              </a:defRPr>
            </a:lvl4pPr>
            <a:lvl5pPr>
              <a:defRPr lang="en-GB" sz="1000" dirty="0" smtClean="0">
                <a:latin typeface="+mn-lt"/>
                <a:ea typeface="+mn-ea"/>
                <a:sym typeface="+mn-lt"/>
              </a:defRPr>
            </a:lvl5pPr>
          </a:lstStyle>
          <a:p>
            <a:pPr lvl="0">
              <a:lnSpc>
                <a:spcPct val="100000"/>
              </a:lnSpc>
            </a:pPr>
            <a:r>
              <a:rPr lang="en-US" altLang="ja-JP"/>
              <a:t>Click to edit Master text styles</a:t>
            </a:r>
          </a:p>
          <a:p>
            <a:pPr lvl="1">
              <a:lnSpc>
                <a:spcPct val="100000"/>
              </a:lnSpc>
            </a:pPr>
            <a:r>
              <a:rPr lang="en-US" altLang="ja-JP"/>
              <a:t>Second level</a:t>
            </a:r>
          </a:p>
          <a:p>
            <a:pPr lvl="2">
              <a:lnSpc>
                <a:spcPct val="100000"/>
              </a:lnSpc>
            </a:pPr>
            <a:r>
              <a:rPr lang="en-US" altLang="ja-JP"/>
              <a:t>Third level</a:t>
            </a:r>
          </a:p>
          <a:p>
            <a:pPr lvl="3">
              <a:lnSpc>
                <a:spcPct val="100000"/>
              </a:lnSpc>
            </a:pPr>
            <a:r>
              <a:rPr lang="en-US" altLang="ja-JP"/>
              <a:t>Fourth level</a:t>
            </a:r>
          </a:p>
          <a:p>
            <a:pPr lvl="4">
              <a:lnSpc>
                <a:spcPct val="100000"/>
              </a:lnSpc>
            </a:pPr>
            <a:r>
              <a:rPr lang="en-US" altLang="ja-JP"/>
              <a:t>Fifth level</a:t>
            </a:r>
            <a:endParaRPr lang="en-GB" dirty="0"/>
          </a:p>
        </p:txBody>
      </p:sp>
      <p:sp>
        <p:nvSpPr>
          <p:cNvPr id="23" name="Heading Right Top"/>
          <p:cNvSpPr>
            <a:spLocks noGrp="1"/>
          </p:cNvSpPr>
          <p:nvPr>
            <p:ph type="body" sz="quarter" idx="36" hasCustomPrompt="1"/>
          </p:nvPr>
        </p:nvSpPr>
        <p:spPr bwMode="gray">
          <a:xfrm>
            <a:off x="6393053" y="3843558"/>
            <a:ext cx="5520000" cy="307777"/>
          </a:xfrm>
        </p:spPr>
        <p:txBody>
          <a:bodyPr wrap="square" lIns="0" tIns="0" rIns="0" bIns="0"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000" b="1">
                <a:solidFill>
                  <a:schemeClr val="accent1"/>
                </a:solidFill>
                <a:latin typeface="+mn-lt"/>
                <a:sym typeface="+mn-lt"/>
              </a:defRPr>
            </a:lvl1pPr>
            <a:lvl2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000">
                <a:solidFill>
                  <a:schemeClr val="accent1"/>
                </a:solidFill>
                <a:latin typeface="+mn-lt"/>
                <a:sym typeface="+mn-lt"/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Heading 10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4" name="Heading Left Top"/>
          <p:cNvSpPr>
            <a:spLocks noGrp="1"/>
          </p:cNvSpPr>
          <p:nvPr>
            <p:ph type="body" sz="quarter" idx="37" hasCustomPrompt="1"/>
          </p:nvPr>
        </p:nvSpPr>
        <p:spPr bwMode="gray">
          <a:xfrm>
            <a:off x="287455" y="3843558"/>
            <a:ext cx="5520000" cy="307777"/>
          </a:xfrm>
        </p:spPr>
        <p:txBody>
          <a:bodyPr wrap="square" lIns="0" tIns="0" rIns="0" bIns="0"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000" b="1">
                <a:solidFill>
                  <a:schemeClr val="accent1"/>
                </a:solidFill>
                <a:latin typeface="+mn-lt"/>
                <a:sym typeface="+mn-lt"/>
              </a:defRPr>
            </a:lvl1pPr>
            <a:lvl2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000">
                <a:solidFill>
                  <a:schemeClr val="accent1"/>
                </a:solidFill>
                <a:latin typeface="+mn-lt"/>
                <a:sym typeface="+mn-lt"/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Heading 10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0 </a:t>
            </a:r>
            <a:r>
              <a:rPr lang="en-US" dirty="0" err="1"/>
              <a:t>p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62430772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Content Right"/>
          <p:cNvSpPr>
            <a:spLocks noGrp="1"/>
          </p:cNvSpPr>
          <p:nvPr>
            <p:ph idx="27"/>
          </p:nvPr>
        </p:nvSpPr>
        <p:spPr bwMode="gray">
          <a:xfrm>
            <a:off x="8313053" y="1341114"/>
            <a:ext cx="3600000" cy="4828044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fontAlgn="base">
              <a:lnSpc>
                <a:spcPct val="100000"/>
              </a:lnSpc>
              <a:spcAft>
                <a:spcPts val="0"/>
              </a:spcAft>
              <a:defRPr lang="en-US" sz="120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sz="120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sz="120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sz="120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sz="1200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 sz="1200"/>
            </a:lvl6pPr>
            <a:lvl7pPr fontAlgn="base">
              <a:lnSpc>
                <a:spcPct val="100000"/>
              </a:lnSpc>
              <a:spcAft>
                <a:spcPts val="0"/>
              </a:spcAft>
              <a:defRPr sz="1200"/>
            </a:lvl7pPr>
            <a:lvl8pPr fontAlgn="base">
              <a:lnSpc>
                <a:spcPct val="100000"/>
              </a:lnSpc>
              <a:spcAft>
                <a:spcPts val="0"/>
              </a:spcAft>
              <a:defRPr sz="1200"/>
            </a:lvl8pPr>
            <a:lvl9pPr fontAlgn="base">
              <a:lnSpc>
                <a:spcPct val="100000"/>
              </a:lnSpc>
              <a:spcAft>
                <a:spcPts val="0"/>
              </a:spcAft>
              <a:defRPr sz="1200"/>
            </a:lvl9pPr>
          </a:lstStyle>
          <a:p>
            <a:pPr lvl="0"/>
            <a:r>
              <a:rPr lang="en-US" altLang="ja-JP"/>
              <a:t>Click to edit Master text styles</a:t>
            </a:r>
          </a:p>
          <a:p>
            <a:pPr lvl="1"/>
            <a:r>
              <a:rPr lang="en-US" altLang="ja-JP"/>
              <a:t>Second level</a:t>
            </a:r>
          </a:p>
          <a:p>
            <a:pPr lvl="2"/>
            <a:r>
              <a:rPr lang="en-US" altLang="ja-JP"/>
              <a:t>Third level</a:t>
            </a:r>
          </a:p>
          <a:p>
            <a:pPr lvl="3"/>
            <a:r>
              <a:rPr lang="en-US" altLang="ja-JP"/>
              <a:t>Fourth level</a:t>
            </a:r>
          </a:p>
          <a:p>
            <a:pPr lvl="4"/>
            <a:r>
              <a:rPr lang="en-US" altLang="ja-JP"/>
              <a:t>Fifth level</a:t>
            </a:r>
            <a:endParaRPr lang="en-GB" dirty="0"/>
          </a:p>
        </p:txBody>
      </p:sp>
      <p:sp>
        <p:nvSpPr>
          <p:cNvPr id="14" name="Content Middle"/>
          <p:cNvSpPr>
            <a:spLocks noGrp="1"/>
          </p:cNvSpPr>
          <p:nvPr>
            <p:ph idx="26"/>
          </p:nvPr>
        </p:nvSpPr>
        <p:spPr bwMode="gray">
          <a:xfrm>
            <a:off x="4300252" y="1341114"/>
            <a:ext cx="3600000" cy="4828044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sz="1200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 sz="1200"/>
            </a:lvl6pPr>
            <a:lvl7pPr fontAlgn="base">
              <a:lnSpc>
                <a:spcPct val="100000"/>
              </a:lnSpc>
              <a:spcAft>
                <a:spcPts val="0"/>
              </a:spcAft>
              <a:defRPr sz="1200"/>
            </a:lvl7pPr>
            <a:lvl8pPr fontAlgn="base">
              <a:lnSpc>
                <a:spcPct val="100000"/>
              </a:lnSpc>
              <a:spcAft>
                <a:spcPts val="0"/>
              </a:spcAft>
              <a:defRPr sz="1200"/>
            </a:lvl8pPr>
            <a:lvl9pPr fontAlgn="base">
              <a:lnSpc>
                <a:spcPct val="100000"/>
              </a:lnSpc>
              <a:spcAft>
                <a:spcPts val="0"/>
              </a:spcAft>
              <a:defRPr sz="1200"/>
            </a:lvl9pPr>
          </a:lstStyle>
          <a:p>
            <a:pPr lvl="0"/>
            <a:r>
              <a:rPr lang="en-US" altLang="ja-JP"/>
              <a:t>Click to edit Master text styles</a:t>
            </a:r>
          </a:p>
          <a:p>
            <a:pPr lvl="1"/>
            <a:r>
              <a:rPr lang="en-US" altLang="ja-JP"/>
              <a:t>Second level</a:t>
            </a:r>
          </a:p>
          <a:p>
            <a:pPr lvl="2"/>
            <a:r>
              <a:rPr lang="en-US" altLang="ja-JP"/>
              <a:t>Third level</a:t>
            </a:r>
          </a:p>
          <a:p>
            <a:pPr lvl="3"/>
            <a:r>
              <a:rPr lang="en-US" altLang="ja-JP"/>
              <a:t>Fourth level</a:t>
            </a:r>
          </a:p>
          <a:p>
            <a:pPr lvl="4"/>
            <a:r>
              <a:rPr lang="en-US" altLang="ja-JP"/>
              <a:t>Fifth level</a:t>
            </a:r>
            <a:endParaRPr lang="en-GB" dirty="0"/>
          </a:p>
        </p:txBody>
      </p:sp>
      <p:sp>
        <p:nvSpPr>
          <p:cNvPr id="13" name="Content Left"/>
          <p:cNvSpPr>
            <a:spLocks noGrp="1"/>
          </p:cNvSpPr>
          <p:nvPr>
            <p:ph idx="25"/>
          </p:nvPr>
        </p:nvSpPr>
        <p:spPr bwMode="gray">
          <a:xfrm>
            <a:off x="287452" y="1341114"/>
            <a:ext cx="3600000" cy="4828044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fontAlgn="base">
              <a:lnSpc>
                <a:spcPct val="100000"/>
              </a:lnSpc>
              <a:spcAft>
                <a:spcPts val="0"/>
              </a:spcAft>
              <a:defRPr lang="en-US" sz="120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sz="120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sz="120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sz="120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sz="1200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 sz="1200"/>
            </a:lvl6pPr>
            <a:lvl7pPr fontAlgn="base">
              <a:lnSpc>
                <a:spcPct val="100000"/>
              </a:lnSpc>
              <a:spcAft>
                <a:spcPts val="0"/>
              </a:spcAft>
              <a:defRPr sz="1200"/>
            </a:lvl7pPr>
            <a:lvl8pPr fontAlgn="base">
              <a:lnSpc>
                <a:spcPct val="100000"/>
              </a:lnSpc>
              <a:spcAft>
                <a:spcPts val="0"/>
              </a:spcAft>
              <a:defRPr sz="1200"/>
            </a:lvl8pPr>
            <a:lvl9pPr fontAlgn="base">
              <a:lnSpc>
                <a:spcPct val="100000"/>
              </a:lnSpc>
              <a:spcAft>
                <a:spcPts val="0"/>
              </a:spcAft>
              <a:defRPr sz="1200"/>
            </a:lvl9pPr>
          </a:lstStyle>
          <a:p>
            <a:pPr lvl="0"/>
            <a:r>
              <a:rPr lang="en-US" altLang="ja-JP"/>
              <a:t>Click to edit Master text styles</a:t>
            </a:r>
          </a:p>
          <a:p>
            <a:pPr lvl="1"/>
            <a:r>
              <a:rPr lang="en-US" altLang="ja-JP"/>
              <a:t>Second level</a:t>
            </a:r>
          </a:p>
          <a:p>
            <a:pPr lvl="2"/>
            <a:r>
              <a:rPr lang="en-US" altLang="ja-JP"/>
              <a:t>Third level</a:t>
            </a:r>
          </a:p>
          <a:p>
            <a:pPr lvl="3"/>
            <a:r>
              <a:rPr lang="en-US" altLang="ja-JP"/>
              <a:t>Fourth level</a:t>
            </a:r>
          </a:p>
          <a:p>
            <a:pPr lvl="4"/>
            <a:r>
              <a:rPr lang="en-US" altLang="ja-JP"/>
              <a:t>Fifth level</a:t>
            </a:r>
            <a:endParaRPr lang="en-GB" dirty="0"/>
          </a:p>
        </p:txBody>
      </p:sp>
      <p:sp>
        <p:nvSpPr>
          <p:cNvPr id="7" name="Title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gray">
          <a:xfrm>
            <a:off x="287453" y="1"/>
            <a:ext cx="11625600" cy="1011600"/>
          </a:xfrm>
          <a:prstGeom prst="rect">
            <a:avLst/>
          </a:prstGeom>
        </p:spPr>
        <p:txBody>
          <a:bodyPr anchor="b"/>
          <a:lstStyle/>
          <a:p>
            <a:pPr lvl="0"/>
            <a:r>
              <a:rPr lang="en-US" altLang="ja-JP"/>
              <a:t>Click to edit Master title style</a:t>
            </a:r>
            <a:endParaRPr lang="en-GB" dirty="0"/>
          </a:p>
        </p:txBody>
      </p:sp>
      <p:sp>
        <p:nvSpPr>
          <p:cNvPr id="6" name="Content"/>
          <p:cNvSpPr>
            <a:spLocks noGrp="1"/>
          </p:cNvSpPr>
          <p:nvPr>
            <p:ph idx="10" hasCustomPrompt="1"/>
          </p:nvPr>
        </p:nvSpPr>
        <p:spPr bwMode="gray">
          <a:xfrm>
            <a:off x="287453" y="6046048"/>
            <a:ext cx="11625600" cy="123111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en-US" sz="800" dirty="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/>
            </a:lvl6pPr>
            <a:lvl7pPr fontAlgn="base">
              <a:lnSpc>
                <a:spcPct val="100000"/>
              </a:lnSpc>
              <a:spcAft>
                <a:spcPts val="0"/>
              </a:spcAft>
              <a:defRPr/>
            </a:lvl7pPr>
            <a:lvl8pPr fontAlgn="base">
              <a:lnSpc>
                <a:spcPct val="100000"/>
              </a:lnSpc>
              <a:spcAft>
                <a:spcPts val="0"/>
              </a:spcAft>
              <a:defRPr/>
            </a:lvl8pPr>
            <a:lvl9pPr fontAlgn="base">
              <a:lnSpc>
                <a:spcPct val="100000"/>
              </a:lnSpc>
              <a:spcAft>
                <a:spcPts val="0"/>
              </a:spcAft>
              <a:defRPr/>
            </a:lvl9pPr>
          </a:lstStyle>
          <a:p>
            <a:pPr lvl="0"/>
            <a:r>
              <a:rPr lang="en-GB" dirty="0"/>
              <a:t>Source: </a:t>
            </a:r>
          </a:p>
        </p:txBody>
      </p:sp>
    </p:spTree>
    <p:extLst>
      <p:ext uri="{BB962C8B-B14F-4D97-AF65-F5344CB8AC3E}">
        <p14:creationId xmlns:p14="http://schemas.microsoft.com/office/powerpoint/2010/main" val="1796348965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with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Content Right"/>
          <p:cNvSpPr>
            <a:spLocks noGrp="1"/>
          </p:cNvSpPr>
          <p:nvPr>
            <p:ph idx="27"/>
          </p:nvPr>
        </p:nvSpPr>
        <p:spPr bwMode="gray">
          <a:xfrm>
            <a:off x="8313053" y="1882448"/>
            <a:ext cx="3600000" cy="4286711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fontAlgn="base">
              <a:lnSpc>
                <a:spcPct val="100000"/>
              </a:lnSpc>
              <a:spcAft>
                <a:spcPts val="0"/>
              </a:spcAft>
              <a:defRPr lang="en-US" sz="120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sz="120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sz="120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sz="120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sz="1200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 sz="1200"/>
            </a:lvl6pPr>
            <a:lvl7pPr fontAlgn="base">
              <a:lnSpc>
                <a:spcPct val="100000"/>
              </a:lnSpc>
              <a:spcAft>
                <a:spcPts val="0"/>
              </a:spcAft>
              <a:defRPr sz="1200"/>
            </a:lvl7pPr>
            <a:lvl8pPr fontAlgn="base">
              <a:lnSpc>
                <a:spcPct val="100000"/>
              </a:lnSpc>
              <a:spcAft>
                <a:spcPts val="0"/>
              </a:spcAft>
              <a:defRPr sz="1200"/>
            </a:lvl8pPr>
            <a:lvl9pPr fontAlgn="base">
              <a:lnSpc>
                <a:spcPct val="100000"/>
              </a:lnSpc>
              <a:spcAft>
                <a:spcPts val="0"/>
              </a:spcAft>
              <a:defRPr sz="1200"/>
            </a:lvl9pPr>
          </a:lstStyle>
          <a:p>
            <a:pPr lvl="0"/>
            <a:r>
              <a:rPr lang="en-US" altLang="ja-JP"/>
              <a:t>Click to edit Master text styles</a:t>
            </a:r>
          </a:p>
          <a:p>
            <a:pPr lvl="1"/>
            <a:r>
              <a:rPr lang="en-US" altLang="ja-JP"/>
              <a:t>Second level</a:t>
            </a:r>
          </a:p>
          <a:p>
            <a:pPr lvl="2"/>
            <a:r>
              <a:rPr lang="en-US" altLang="ja-JP"/>
              <a:t>Third level</a:t>
            </a:r>
          </a:p>
          <a:p>
            <a:pPr lvl="3"/>
            <a:r>
              <a:rPr lang="en-US" altLang="ja-JP"/>
              <a:t>Fourth level</a:t>
            </a:r>
          </a:p>
          <a:p>
            <a:pPr lvl="4"/>
            <a:r>
              <a:rPr lang="en-US" altLang="ja-JP"/>
              <a:t>Fifth level</a:t>
            </a:r>
            <a:endParaRPr lang="en-GB" dirty="0"/>
          </a:p>
        </p:txBody>
      </p:sp>
      <p:sp>
        <p:nvSpPr>
          <p:cNvPr id="17" name="Content Middle"/>
          <p:cNvSpPr>
            <a:spLocks noGrp="1"/>
          </p:cNvSpPr>
          <p:nvPr>
            <p:ph idx="26"/>
          </p:nvPr>
        </p:nvSpPr>
        <p:spPr bwMode="gray">
          <a:xfrm>
            <a:off x="4300252" y="1882448"/>
            <a:ext cx="3600000" cy="4286711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sz="1200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 sz="1200"/>
            </a:lvl6pPr>
            <a:lvl7pPr fontAlgn="base">
              <a:lnSpc>
                <a:spcPct val="100000"/>
              </a:lnSpc>
              <a:spcAft>
                <a:spcPts val="0"/>
              </a:spcAft>
              <a:defRPr sz="1200"/>
            </a:lvl7pPr>
            <a:lvl8pPr fontAlgn="base">
              <a:lnSpc>
                <a:spcPct val="100000"/>
              </a:lnSpc>
              <a:spcAft>
                <a:spcPts val="0"/>
              </a:spcAft>
              <a:defRPr sz="1200"/>
            </a:lvl8pPr>
            <a:lvl9pPr fontAlgn="base">
              <a:lnSpc>
                <a:spcPct val="100000"/>
              </a:lnSpc>
              <a:spcAft>
                <a:spcPts val="0"/>
              </a:spcAft>
              <a:defRPr sz="1200"/>
            </a:lvl9pPr>
          </a:lstStyle>
          <a:p>
            <a:pPr lvl="0"/>
            <a:r>
              <a:rPr lang="en-US" altLang="ja-JP"/>
              <a:t>Click to edit Master text styles</a:t>
            </a:r>
          </a:p>
          <a:p>
            <a:pPr lvl="1"/>
            <a:r>
              <a:rPr lang="en-US" altLang="ja-JP"/>
              <a:t>Second level</a:t>
            </a:r>
          </a:p>
          <a:p>
            <a:pPr lvl="2"/>
            <a:r>
              <a:rPr lang="en-US" altLang="ja-JP"/>
              <a:t>Third level</a:t>
            </a:r>
          </a:p>
          <a:p>
            <a:pPr lvl="3"/>
            <a:r>
              <a:rPr lang="en-US" altLang="ja-JP"/>
              <a:t>Fourth level</a:t>
            </a:r>
          </a:p>
          <a:p>
            <a:pPr lvl="4"/>
            <a:r>
              <a:rPr lang="en-US" altLang="ja-JP"/>
              <a:t>Fifth level</a:t>
            </a:r>
            <a:endParaRPr lang="en-GB" dirty="0"/>
          </a:p>
        </p:txBody>
      </p:sp>
      <p:sp>
        <p:nvSpPr>
          <p:cNvPr id="16" name="Content Left"/>
          <p:cNvSpPr>
            <a:spLocks noGrp="1"/>
          </p:cNvSpPr>
          <p:nvPr>
            <p:ph idx="25"/>
          </p:nvPr>
        </p:nvSpPr>
        <p:spPr bwMode="gray">
          <a:xfrm>
            <a:off x="287452" y="1882448"/>
            <a:ext cx="3600000" cy="4286711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sz="1200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 sz="1200"/>
            </a:lvl6pPr>
            <a:lvl7pPr fontAlgn="base">
              <a:lnSpc>
                <a:spcPct val="100000"/>
              </a:lnSpc>
              <a:spcAft>
                <a:spcPts val="0"/>
              </a:spcAft>
              <a:defRPr sz="1200"/>
            </a:lvl7pPr>
            <a:lvl8pPr fontAlgn="base">
              <a:lnSpc>
                <a:spcPct val="100000"/>
              </a:lnSpc>
              <a:spcAft>
                <a:spcPts val="0"/>
              </a:spcAft>
              <a:defRPr sz="1200"/>
            </a:lvl8pPr>
            <a:lvl9pPr fontAlgn="base">
              <a:lnSpc>
                <a:spcPct val="100000"/>
              </a:lnSpc>
              <a:spcAft>
                <a:spcPts val="0"/>
              </a:spcAft>
              <a:defRPr sz="1200"/>
            </a:lvl9pPr>
          </a:lstStyle>
          <a:p>
            <a:pPr lvl="0"/>
            <a:r>
              <a:rPr lang="en-US" altLang="ja-JP"/>
              <a:t>Click to edit Master text styles</a:t>
            </a:r>
          </a:p>
          <a:p>
            <a:pPr lvl="1"/>
            <a:r>
              <a:rPr lang="en-US" altLang="ja-JP"/>
              <a:t>Second level</a:t>
            </a:r>
          </a:p>
          <a:p>
            <a:pPr lvl="2"/>
            <a:r>
              <a:rPr lang="en-US" altLang="ja-JP"/>
              <a:t>Third level</a:t>
            </a:r>
          </a:p>
          <a:p>
            <a:pPr lvl="3"/>
            <a:r>
              <a:rPr lang="en-US" altLang="ja-JP"/>
              <a:t>Fourth level</a:t>
            </a:r>
          </a:p>
          <a:p>
            <a:pPr lvl="4"/>
            <a:r>
              <a:rPr lang="en-US" altLang="ja-JP"/>
              <a:t>Fifth level</a:t>
            </a:r>
            <a:endParaRPr lang="en-GB" dirty="0"/>
          </a:p>
        </p:txBody>
      </p:sp>
      <p:sp>
        <p:nvSpPr>
          <p:cNvPr id="21" name="Heading Right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8313053" y="1337514"/>
            <a:ext cx="3600000" cy="369332"/>
          </a:xfrm>
        </p:spPr>
        <p:txBody>
          <a:bodyPr wrap="square" lIns="0" tIns="0" rIns="0" bIns="0"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200" b="1">
                <a:solidFill>
                  <a:schemeClr val="accent1"/>
                </a:solidFill>
                <a:latin typeface="+mn-lt"/>
                <a:sym typeface="+mn-lt"/>
              </a:defRPr>
            </a:lvl1pPr>
            <a:lvl2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200" b="0" baseline="0">
                <a:solidFill>
                  <a:schemeClr val="accent1"/>
                </a:solidFill>
                <a:latin typeface="+mn-lt"/>
                <a:sym typeface="+mn-lt"/>
              </a:defRPr>
            </a:lvl2pPr>
          </a:lstStyle>
          <a:p>
            <a:pPr lvl="0"/>
            <a:r>
              <a:rPr lang="en-US" dirty="0"/>
              <a:t>Heading 12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2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2" name="Heading Middle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300253" y="1337514"/>
            <a:ext cx="3600000" cy="369332"/>
          </a:xfrm>
        </p:spPr>
        <p:txBody>
          <a:bodyPr lIns="0" tIns="0" rIns="0" bIns="0"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200" b="1">
                <a:solidFill>
                  <a:schemeClr val="accent1"/>
                </a:solidFill>
                <a:latin typeface="+mn-lt"/>
                <a:sym typeface="+mn-lt"/>
              </a:defRPr>
            </a:lvl1pPr>
            <a:lvl2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200" b="0" baseline="0">
                <a:solidFill>
                  <a:schemeClr val="accent1"/>
                </a:solidFill>
                <a:latin typeface="+mn-lt"/>
                <a:sym typeface="+mn-lt"/>
              </a:defRPr>
            </a:lvl2pPr>
          </a:lstStyle>
          <a:p>
            <a:pPr lvl="0"/>
            <a:r>
              <a:rPr lang="en-US" dirty="0"/>
              <a:t>Heading 12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2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0" name="Heading Left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287453" y="1337514"/>
            <a:ext cx="3600000" cy="369332"/>
          </a:xfrm>
        </p:spPr>
        <p:txBody>
          <a:bodyPr lIns="0" tIns="0" rIns="0" bIns="0"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200" b="1">
                <a:solidFill>
                  <a:schemeClr val="accent1"/>
                </a:solidFill>
                <a:latin typeface="+mn-lt"/>
                <a:sym typeface="+mn-lt"/>
              </a:defRPr>
            </a:lvl1pPr>
            <a:lvl2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200" b="0" baseline="0">
                <a:solidFill>
                  <a:schemeClr val="accent1"/>
                </a:solidFill>
                <a:latin typeface="+mn-lt"/>
                <a:sym typeface="+mn-lt"/>
              </a:defRPr>
            </a:lvl2pPr>
          </a:lstStyle>
          <a:p>
            <a:pPr lvl="0"/>
            <a:r>
              <a:rPr lang="en-US" dirty="0"/>
              <a:t>Heading 12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2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10" name="Title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gray">
          <a:xfrm>
            <a:off x="287453" y="1"/>
            <a:ext cx="11625600" cy="1011600"/>
          </a:xfrm>
          <a:prstGeom prst="rect">
            <a:avLst/>
          </a:prstGeom>
        </p:spPr>
        <p:txBody>
          <a:bodyPr anchor="b"/>
          <a:lstStyle/>
          <a:p>
            <a:pPr lvl="0"/>
            <a:r>
              <a:rPr lang="en-US" altLang="ja-JP"/>
              <a:t>Click to edit Master title style</a:t>
            </a:r>
            <a:endParaRPr lang="en-GB" dirty="0"/>
          </a:p>
        </p:txBody>
      </p:sp>
      <p:sp>
        <p:nvSpPr>
          <p:cNvPr id="9" name="Content"/>
          <p:cNvSpPr>
            <a:spLocks noGrp="1"/>
          </p:cNvSpPr>
          <p:nvPr>
            <p:ph idx="10" hasCustomPrompt="1"/>
          </p:nvPr>
        </p:nvSpPr>
        <p:spPr bwMode="gray">
          <a:xfrm>
            <a:off x="287453" y="6046048"/>
            <a:ext cx="11625600" cy="123111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en-US" sz="800" dirty="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/>
            </a:lvl6pPr>
            <a:lvl7pPr fontAlgn="base">
              <a:lnSpc>
                <a:spcPct val="100000"/>
              </a:lnSpc>
              <a:spcAft>
                <a:spcPts val="0"/>
              </a:spcAft>
              <a:defRPr/>
            </a:lvl7pPr>
            <a:lvl8pPr fontAlgn="base">
              <a:lnSpc>
                <a:spcPct val="100000"/>
              </a:lnSpc>
              <a:spcAft>
                <a:spcPts val="0"/>
              </a:spcAft>
              <a:defRPr/>
            </a:lvl8pPr>
            <a:lvl9pPr fontAlgn="base">
              <a:lnSpc>
                <a:spcPct val="100000"/>
              </a:lnSpc>
              <a:spcAft>
                <a:spcPts val="0"/>
              </a:spcAft>
              <a:defRPr/>
            </a:lvl9pPr>
          </a:lstStyle>
          <a:p>
            <a:pPr lvl="0"/>
            <a:r>
              <a:rPr lang="en-GB" dirty="0"/>
              <a:t>Source: </a:t>
            </a:r>
          </a:p>
        </p:txBody>
      </p:sp>
    </p:spTree>
    <p:extLst>
      <p:ext uri="{BB962C8B-B14F-4D97-AF65-F5344CB8AC3E}">
        <p14:creationId xmlns:p14="http://schemas.microsoft.com/office/powerpoint/2010/main" val="1215992693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2/3 spl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Content Right"/>
          <p:cNvSpPr>
            <a:spLocks noGrp="1"/>
          </p:cNvSpPr>
          <p:nvPr>
            <p:ph idx="28"/>
          </p:nvPr>
        </p:nvSpPr>
        <p:spPr bwMode="gray">
          <a:xfrm>
            <a:off x="8313053" y="1882448"/>
            <a:ext cx="3600000" cy="4286711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sz="1200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 sz="1200"/>
            </a:lvl6pPr>
            <a:lvl7pPr fontAlgn="base">
              <a:lnSpc>
                <a:spcPct val="100000"/>
              </a:lnSpc>
              <a:spcAft>
                <a:spcPts val="0"/>
              </a:spcAft>
              <a:defRPr sz="1200"/>
            </a:lvl7pPr>
            <a:lvl8pPr fontAlgn="base">
              <a:lnSpc>
                <a:spcPct val="100000"/>
              </a:lnSpc>
              <a:spcAft>
                <a:spcPts val="0"/>
              </a:spcAft>
              <a:defRPr sz="1200"/>
            </a:lvl8pPr>
            <a:lvl9pPr fontAlgn="base">
              <a:lnSpc>
                <a:spcPct val="100000"/>
              </a:lnSpc>
              <a:spcAft>
                <a:spcPts val="0"/>
              </a:spcAft>
              <a:defRPr sz="1200"/>
            </a:lvl9pPr>
          </a:lstStyle>
          <a:p>
            <a:pPr lvl="0"/>
            <a:r>
              <a:rPr lang="en-US" altLang="ja-JP"/>
              <a:t>Click to edit Master text styles</a:t>
            </a:r>
          </a:p>
          <a:p>
            <a:pPr lvl="1"/>
            <a:r>
              <a:rPr lang="en-US" altLang="ja-JP"/>
              <a:t>Second level</a:t>
            </a:r>
          </a:p>
          <a:p>
            <a:pPr lvl="2"/>
            <a:r>
              <a:rPr lang="en-US" altLang="ja-JP"/>
              <a:t>Third level</a:t>
            </a:r>
          </a:p>
          <a:p>
            <a:pPr lvl="3"/>
            <a:r>
              <a:rPr lang="en-US" altLang="ja-JP"/>
              <a:t>Fourth level</a:t>
            </a:r>
          </a:p>
          <a:p>
            <a:pPr lvl="4"/>
            <a:r>
              <a:rPr lang="en-US" altLang="ja-JP"/>
              <a:t>Fifth level</a:t>
            </a:r>
            <a:endParaRPr lang="en-GB" dirty="0"/>
          </a:p>
        </p:txBody>
      </p:sp>
      <p:sp>
        <p:nvSpPr>
          <p:cNvPr id="19" name="Heading Right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8313053" y="1337514"/>
            <a:ext cx="3600000" cy="369332"/>
          </a:xfrm>
        </p:spPr>
        <p:txBody>
          <a:bodyPr lIns="0" tIns="0" rIns="0" bIns="0"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200" b="1">
                <a:solidFill>
                  <a:schemeClr val="accent1"/>
                </a:solidFill>
                <a:latin typeface="+mn-lt"/>
                <a:sym typeface="+mn-lt"/>
              </a:defRPr>
            </a:lvl1pPr>
            <a:lvl2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200">
                <a:solidFill>
                  <a:schemeClr val="accent1"/>
                </a:solidFill>
                <a:latin typeface="+mn-lt"/>
                <a:sym typeface="+mn-lt"/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Heading 12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2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8" name="Title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gray">
          <a:xfrm>
            <a:off x="287453" y="1"/>
            <a:ext cx="11625600" cy="1011600"/>
          </a:xfrm>
          <a:prstGeom prst="rect">
            <a:avLst/>
          </a:prstGeom>
        </p:spPr>
        <p:txBody>
          <a:bodyPr anchor="b"/>
          <a:lstStyle/>
          <a:p>
            <a:pPr lvl="0"/>
            <a:r>
              <a:rPr lang="en-US" altLang="ja-JP"/>
              <a:t>Click to edit Master title style</a:t>
            </a:r>
            <a:endParaRPr lang="en-GB" dirty="0"/>
          </a:p>
        </p:txBody>
      </p:sp>
      <p:sp>
        <p:nvSpPr>
          <p:cNvPr id="12" name="Content Middle"/>
          <p:cNvSpPr>
            <a:spLocks noGrp="1"/>
          </p:cNvSpPr>
          <p:nvPr>
            <p:ph idx="26"/>
          </p:nvPr>
        </p:nvSpPr>
        <p:spPr bwMode="gray">
          <a:xfrm>
            <a:off x="287454" y="1882448"/>
            <a:ext cx="7612799" cy="4286711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sz="1200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 sz="1200"/>
            </a:lvl6pPr>
            <a:lvl7pPr fontAlgn="base">
              <a:lnSpc>
                <a:spcPct val="100000"/>
              </a:lnSpc>
              <a:spcAft>
                <a:spcPts val="0"/>
              </a:spcAft>
              <a:defRPr sz="1200"/>
            </a:lvl7pPr>
            <a:lvl8pPr fontAlgn="base">
              <a:lnSpc>
                <a:spcPct val="100000"/>
              </a:lnSpc>
              <a:spcAft>
                <a:spcPts val="0"/>
              </a:spcAft>
              <a:defRPr sz="1200"/>
            </a:lvl8pPr>
            <a:lvl9pPr fontAlgn="base">
              <a:lnSpc>
                <a:spcPct val="100000"/>
              </a:lnSpc>
              <a:spcAft>
                <a:spcPts val="0"/>
              </a:spcAft>
              <a:defRPr sz="1200"/>
            </a:lvl9pPr>
          </a:lstStyle>
          <a:p>
            <a:pPr lvl="0"/>
            <a:r>
              <a:rPr lang="en-US" altLang="ja-JP"/>
              <a:t>Click to edit Master text styles</a:t>
            </a:r>
          </a:p>
          <a:p>
            <a:pPr lvl="1"/>
            <a:r>
              <a:rPr lang="en-US" altLang="ja-JP"/>
              <a:t>Second level</a:t>
            </a:r>
          </a:p>
          <a:p>
            <a:pPr lvl="2"/>
            <a:r>
              <a:rPr lang="en-US" altLang="ja-JP"/>
              <a:t>Third level</a:t>
            </a:r>
          </a:p>
          <a:p>
            <a:pPr lvl="3"/>
            <a:r>
              <a:rPr lang="en-US" altLang="ja-JP"/>
              <a:t>Fourth level</a:t>
            </a:r>
          </a:p>
          <a:p>
            <a:pPr lvl="4"/>
            <a:r>
              <a:rPr lang="en-US" altLang="ja-JP"/>
              <a:t>Fifth level</a:t>
            </a:r>
            <a:endParaRPr lang="en-GB" dirty="0"/>
          </a:p>
        </p:txBody>
      </p:sp>
      <p:sp>
        <p:nvSpPr>
          <p:cNvPr id="13" name="Heading Middle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87455" y="1337514"/>
            <a:ext cx="7612799" cy="369332"/>
          </a:xfrm>
        </p:spPr>
        <p:txBody>
          <a:bodyPr wrap="square" lIns="0" tIns="0" rIns="0" bIns="0"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200" b="1">
                <a:solidFill>
                  <a:schemeClr val="accent1"/>
                </a:solidFill>
                <a:latin typeface="+mn-lt"/>
                <a:sym typeface="+mn-lt"/>
              </a:defRPr>
            </a:lvl1pPr>
            <a:lvl2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200" b="0" baseline="0">
                <a:solidFill>
                  <a:schemeClr val="accent1"/>
                </a:solidFill>
                <a:latin typeface="+mn-lt"/>
                <a:sym typeface="+mn-lt"/>
              </a:defRPr>
            </a:lvl2pPr>
          </a:lstStyle>
          <a:p>
            <a:pPr lvl="0"/>
            <a:r>
              <a:rPr lang="en-US" dirty="0"/>
              <a:t>Heading 12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2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7" name="Content"/>
          <p:cNvSpPr>
            <a:spLocks noGrp="1"/>
          </p:cNvSpPr>
          <p:nvPr>
            <p:ph idx="10" hasCustomPrompt="1"/>
          </p:nvPr>
        </p:nvSpPr>
        <p:spPr bwMode="gray">
          <a:xfrm>
            <a:off x="287453" y="6046048"/>
            <a:ext cx="11625600" cy="123111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en-US" sz="800" dirty="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/>
            </a:lvl6pPr>
            <a:lvl7pPr fontAlgn="base">
              <a:lnSpc>
                <a:spcPct val="100000"/>
              </a:lnSpc>
              <a:spcAft>
                <a:spcPts val="0"/>
              </a:spcAft>
              <a:defRPr/>
            </a:lvl7pPr>
            <a:lvl8pPr fontAlgn="base">
              <a:lnSpc>
                <a:spcPct val="100000"/>
              </a:lnSpc>
              <a:spcAft>
                <a:spcPts val="0"/>
              </a:spcAft>
              <a:defRPr/>
            </a:lvl8pPr>
            <a:lvl9pPr fontAlgn="base">
              <a:lnSpc>
                <a:spcPct val="100000"/>
              </a:lnSpc>
              <a:spcAft>
                <a:spcPts val="0"/>
              </a:spcAft>
              <a:defRPr/>
            </a:lvl9pPr>
          </a:lstStyle>
          <a:p>
            <a:pPr lvl="0"/>
            <a:r>
              <a:rPr lang="en-GB" dirty="0"/>
              <a:t>Source: </a:t>
            </a:r>
          </a:p>
        </p:txBody>
      </p:sp>
    </p:spTree>
    <p:extLst>
      <p:ext uri="{BB962C8B-B14F-4D97-AF65-F5344CB8AC3E}">
        <p14:creationId xmlns:p14="http://schemas.microsoft.com/office/powerpoint/2010/main" val="294932279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3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.xml"/><Relationship Id="rId13" Type="http://schemas.openxmlformats.org/officeDocument/2006/relationships/slideLayout" Target="../slideLayouts/slideLayout18.xml"/><Relationship Id="rId18" Type="http://schemas.openxmlformats.org/officeDocument/2006/relationships/slideLayout" Target="../slideLayouts/slideLayout23.xml"/><Relationship Id="rId3" Type="http://schemas.openxmlformats.org/officeDocument/2006/relationships/slideLayout" Target="../slideLayouts/slideLayout8.xml"/><Relationship Id="rId21" Type="http://schemas.openxmlformats.org/officeDocument/2006/relationships/tags" Target="../tags/tag4.xml"/><Relationship Id="rId7" Type="http://schemas.openxmlformats.org/officeDocument/2006/relationships/slideLayout" Target="../slideLayouts/slideLayout12.xml"/><Relationship Id="rId12" Type="http://schemas.openxmlformats.org/officeDocument/2006/relationships/slideLayout" Target="../slideLayouts/slideLayout17.xml"/><Relationship Id="rId17" Type="http://schemas.openxmlformats.org/officeDocument/2006/relationships/slideLayout" Target="../slideLayouts/slideLayout22.xml"/><Relationship Id="rId2" Type="http://schemas.openxmlformats.org/officeDocument/2006/relationships/slideLayout" Target="../slideLayouts/slideLayout7.xml"/><Relationship Id="rId16" Type="http://schemas.openxmlformats.org/officeDocument/2006/relationships/slideLayout" Target="../slideLayouts/slideLayout21.xml"/><Relationship Id="rId20" Type="http://schemas.openxmlformats.org/officeDocument/2006/relationships/vmlDrawing" Target="../drawings/vmlDrawing2.vml"/><Relationship Id="rId1" Type="http://schemas.openxmlformats.org/officeDocument/2006/relationships/slideLayout" Target="../slideLayouts/slideLayout6.xml"/><Relationship Id="rId6" Type="http://schemas.openxmlformats.org/officeDocument/2006/relationships/slideLayout" Target="../slideLayouts/slideLayout11.xml"/><Relationship Id="rId11" Type="http://schemas.openxmlformats.org/officeDocument/2006/relationships/slideLayout" Target="../slideLayouts/slideLayout16.xml"/><Relationship Id="rId24" Type="http://schemas.openxmlformats.org/officeDocument/2006/relationships/image" Target="../media/image6.jpeg"/><Relationship Id="rId5" Type="http://schemas.openxmlformats.org/officeDocument/2006/relationships/slideLayout" Target="../slideLayouts/slideLayout10.xml"/><Relationship Id="rId15" Type="http://schemas.openxmlformats.org/officeDocument/2006/relationships/slideLayout" Target="../slideLayouts/slideLayout20.xml"/><Relationship Id="rId23" Type="http://schemas.openxmlformats.org/officeDocument/2006/relationships/image" Target="../media/image5.emf"/><Relationship Id="rId10" Type="http://schemas.openxmlformats.org/officeDocument/2006/relationships/slideLayout" Target="../slideLayouts/slideLayout15.xml"/><Relationship Id="rId19" Type="http://schemas.openxmlformats.org/officeDocument/2006/relationships/theme" Target="../theme/theme2.xml"/><Relationship Id="rId4" Type="http://schemas.openxmlformats.org/officeDocument/2006/relationships/slideLayout" Target="../slideLayouts/slideLayout9.xml"/><Relationship Id="rId9" Type="http://schemas.openxmlformats.org/officeDocument/2006/relationships/slideLayout" Target="../slideLayouts/slideLayout14.xml"/><Relationship Id="rId14" Type="http://schemas.openxmlformats.org/officeDocument/2006/relationships/slideLayout" Target="../slideLayouts/slideLayout19.xml"/><Relationship Id="rId22" Type="http://schemas.openxmlformats.org/officeDocument/2006/relationships/oleObject" Target="../embeddings/oleObject2.bin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1.xml"/><Relationship Id="rId13" Type="http://schemas.openxmlformats.org/officeDocument/2006/relationships/slideLayout" Target="../slideLayouts/slideLayout36.xml"/><Relationship Id="rId18" Type="http://schemas.openxmlformats.org/officeDocument/2006/relationships/slideLayout" Target="../slideLayouts/slideLayout41.xml"/><Relationship Id="rId26" Type="http://schemas.openxmlformats.org/officeDocument/2006/relationships/slideLayout" Target="../slideLayouts/slideLayout49.xml"/><Relationship Id="rId3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44.xml"/><Relationship Id="rId34" Type="http://schemas.openxmlformats.org/officeDocument/2006/relationships/tags" Target="../tags/tag8.xml"/><Relationship Id="rId7" Type="http://schemas.openxmlformats.org/officeDocument/2006/relationships/slideLayout" Target="../slideLayouts/slideLayout30.xml"/><Relationship Id="rId12" Type="http://schemas.openxmlformats.org/officeDocument/2006/relationships/slideLayout" Target="../slideLayouts/slideLayout35.xml"/><Relationship Id="rId17" Type="http://schemas.openxmlformats.org/officeDocument/2006/relationships/slideLayout" Target="../slideLayouts/slideLayout40.xml"/><Relationship Id="rId25" Type="http://schemas.openxmlformats.org/officeDocument/2006/relationships/slideLayout" Target="../slideLayouts/slideLayout48.xml"/><Relationship Id="rId33" Type="http://schemas.openxmlformats.org/officeDocument/2006/relationships/tags" Target="../tags/tag7.xml"/><Relationship Id="rId2" Type="http://schemas.openxmlformats.org/officeDocument/2006/relationships/slideLayout" Target="../slideLayouts/slideLayout25.xml"/><Relationship Id="rId16" Type="http://schemas.openxmlformats.org/officeDocument/2006/relationships/slideLayout" Target="../slideLayouts/slideLayout39.xml"/><Relationship Id="rId20" Type="http://schemas.openxmlformats.org/officeDocument/2006/relationships/slideLayout" Target="../slideLayouts/slideLayout43.xml"/><Relationship Id="rId29" Type="http://schemas.openxmlformats.org/officeDocument/2006/relationships/slideLayout" Target="../slideLayouts/slideLayout52.xml"/><Relationship Id="rId1" Type="http://schemas.openxmlformats.org/officeDocument/2006/relationships/slideLayout" Target="../slideLayouts/slideLayout24.xml"/><Relationship Id="rId6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34.xml"/><Relationship Id="rId24" Type="http://schemas.openxmlformats.org/officeDocument/2006/relationships/slideLayout" Target="../slideLayouts/slideLayout47.xml"/><Relationship Id="rId32" Type="http://schemas.openxmlformats.org/officeDocument/2006/relationships/vmlDrawing" Target="../drawings/vmlDrawing5.vml"/><Relationship Id="rId5" Type="http://schemas.openxmlformats.org/officeDocument/2006/relationships/slideLayout" Target="../slideLayouts/slideLayout28.xml"/><Relationship Id="rId15" Type="http://schemas.openxmlformats.org/officeDocument/2006/relationships/slideLayout" Target="../slideLayouts/slideLayout38.xml"/><Relationship Id="rId23" Type="http://schemas.openxmlformats.org/officeDocument/2006/relationships/slideLayout" Target="../slideLayouts/slideLayout46.xml"/><Relationship Id="rId28" Type="http://schemas.openxmlformats.org/officeDocument/2006/relationships/slideLayout" Target="../slideLayouts/slideLayout51.xml"/><Relationship Id="rId36" Type="http://schemas.openxmlformats.org/officeDocument/2006/relationships/image" Target="../media/image1.emf"/><Relationship Id="rId10" Type="http://schemas.openxmlformats.org/officeDocument/2006/relationships/slideLayout" Target="../slideLayouts/slideLayout33.xml"/><Relationship Id="rId19" Type="http://schemas.openxmlformats.org/officeDocument/2006/relationships/slideLayout" Target="../slideLayouts/slideLayout42.xml"/><Relationship Id="rId31" Type="http://schemas.openxmlformats.org/officeDocument/2006/relationships/theme" Target="../theme/theme3.xml"/><Relationship Id="rId4" Type="http://schemas.openxmlformats.org/officeDocument/2006/relationships/slideLayout" Target="../slideLayouts/slideLayout27.xml"/><Relationship Id="rId9" Type="http://schemas.openxmlformats.org/officeDocument/2006/relationships/slideLayout" Target="../slideLayouts/slideLayout32.xml"/><Relationship Id="rId14" Type="http://schemas.openxmlformats.org/officeDocument/2006/relationships/slideLayout" Target="../slideLayouts/slideLayout37.xml"/><Relationship Id="rId22" Type="http://schemas.openxmlformats.org/officeDocument/2006/relationships/slideLayout" Target="../slideLayouts/slideLayout45.xml"/><Relationship Id="rId27" Type="http://schemas.openxmlformats.org/officeDocument/2006/relationships/slideLayout" Target="../slideLayouts/slideLayout50.xml"/><Relationship Id="rId30" Type="http://schemas.openxmlformats.org/officeDocument/2006/relationships/slideLayout" Target="../slideLayouts/slideLayout53.xml"/><Relationship Id="rId35" Type="http://schemas.openxmlformats.org/officeDocument/2006/relationships/oleObject" Target="../embeddings/oleObject5.bin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1.xml"/><Relationship Id="rId13" Type="http://schemas.openxmlformats.org/officeDocument/2006/relationships/slideLayout" Target="../slideLayouts/slideLayout66.xml"/><Relationship Id="rId18" Type="http://schemas.openxmlformats.org/officeDocument/2006/relationships/tags" Target="../tags/tag10.xml"/><Relationship Id="rId3" Type="http://schemas.openxmlformats.org/officeDocument/2006/relationships/slideLayout" Target="../slideLayouts/slideLayout56.xml"/><Relationship Id="rId21" Type="http://schemas.openxmlformats.org/officeDocument/2006/relationships/oleObject" Target="../embeddings/oleObject6.bin"/><Relationship Id="rId7" Type="http://schemas.openxmlformats.org/officeDocument/2006/relationships/slideLayout" Target="../slideLayouts/slideLayout60.xml"/><Relationship Id="rId12" Type="http://schemas.openxmlformats.org/officeDocument/2006/relationships/slideLayout" Target="../slideLayouts/slideLayout65.xml"/><Relationship Id="rId17" Type="http://schemas.openxmlformats.org/officeDocument/2006/relationships/tags" Target="../tags/tag9.xml"/><Relationship Id="rId2" Type="http://schemas.openxmlformats.org/officeDocument/2006/relationships/slideLayout" Target="../slideLayouts/slideLayout55.xml"/><Relationship Id="rId16" Type="http://schemas.openxmlformats.org/officeDocument/2006/relationships/vmlDrawing" Target="../drawings/vmlDrawing6.vml"/><Relationship Id="rId20" Type="http://schemas.openxmlformats.org/officeDocument/2006/relationships/tags" Target="../tags/tag12.xml"/><Relationship Id="rId1" Type="http://schemas.openxmlformats.org/officeDocument/2006/relationships/slideLayout" Target="../slideLayouts/slideLayout54.xml"/><Relationship Id="rId6" Type="http://schemas.openxmlformats.org/officeDocument/2006/relationships/slideLayout" Target="../slideLayouts/slideLayout59.xml"/><Relationship Id="rId11" Type="http://schemas.openxmlformats.org/officeDocument/2006/relationships/slideLayout" Target="../slideLayouts/slideLayout64.xml"/><Relationship Id="rId5" Type="http://schemas.openxmlformats.org/officeDocument/2006/relationships/slideLayout" Target="../slideLayouts/slideLayout58.xml"/><Relationship Id="rId15" Type="http://schemas.openxmlformats.org/officeDocument/2006/relationships/theme" Target="../theme/theme4.xml"/><Relationship Id="rId23" Type="http://schemas.openxmlformats.org/officeDocument/2006/relationships/image" Target="../media/image11.png"/><Relationship Id="rId10" Type="http://schemas.openxmlformats.org/officeDocument/2006/relationships/slideLayout" Target="../slideLayouts/slideLayout63.xml"/><Relationship Id="rId19" Type="http://schemas.openxmlformats.org/officeDocument/2006/relationships/tags" Target="../tags/tag11.xml"/><Relationship Id="rId4" Type="http://schemas.openxmlformats.org/officeDocument/2006/relationships/slideLayout" Target="../slideLayouts/slideLayout57.xml"/><Relationship Id="rId9" Type="http://schemas.openxmlformats.org/officeDocument/2006/relationships/slideLayout" Target="../slideLayouts/slideLayout62.xml"/><Relationship Id="rId14" Type="http://schemas.openxmlformats.org/officeDocument/2006/relationships/slideLayout" Target="../slideLayouts/slideLayout67.xml"/><Relationship Id="rId22" Type="http://schemas.openxmlformats.org/officeDocument/2006/relationships/image" Target="../media/image10.emf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5.xml"/><Relationship Id="rId13" Type="http://schemas.openxmlformats.org/officeDocument/2006/relationships/slideLayout" Target="../slideLayouts/slideLayout80.xml"/><Relationship Id="rId18" Type="http://schemas.openxmlformats.org/officeDocument/2006/relationships/tags" Target="../tags/tag26.xml"/><Relationship Id="rId3" Type="http://schemas.openxmlformats.org/officeDocument/2006/relationships/slideLayout" Target="../slideLayouts/slideLayout70.xml"/><Relationship Id="rId21" Type="http://schemas.openxmlformats.org/officeDocument/2006/relationships/oleObject" Target="../embeddings/oleObject10.bin"/><Relationship Id="rId7" Type="http://schemas.openxmlformats.org/officeDocument/2006/relationships/slideLayout" Target="../slideLayouts/slideLayout74.xml"/><Relationship Id="rId12" Type="http://schemas.openxmlformats.org/officeDocument/2006/relationships/slideLayout" Target="../slideLayouts/slideLayout79.xml"/><Relationship Id="rId17" Type="http://schemas.openxmlformats.org/officeDocument/2006/relationships/tags" Target="../tags/tag25.xml"/><Relationship Id="rId2" Type="http://schemas.openxmlformats.org/officeDocument/2006/relationships/slideLayout" Target="../slideLayouts/slideLayout69.xml"/><Relationship Id="rId16" Type="http://schemas.openxmlformats.org/officeDocument/2006/relationships/vmlDrawing" Target="../drawings/vmlDrawing10.vml"/><Relationship Id="rId20" Type="http://schemas.openxmlformats.org/officeDocument/2006/relationships/tags" Target="../tags/tag28.xml"/><Relationship Id="rId1" Type="http://schemas.openxmlformats.org/officeDocument/2006/relationships/slideLayout" Target="../slideLayouts/slideLayout68.xml"/><Relationship Id="rId6" Type="http://schemas.openxmlformats.org/officeDocument/2006/relationships/slideLayout" Target="../slideLayouts/slideLayout73.xml"/><Relationship Id="rId11" Type="http://schemas.openxmlformats.org/officeDocument/2006/relationships/slideLayout" Target="../slideLayouts/slideLayout78.xml"/><Relationship Id="rId5" Type="http://schemas.openxmlformats.org/officeDocument/2006/relationships/slideLayout" Target="../slideLayouts/slideLayout72.xml"/><Relationship Id="rId15" Type="http://schemas.openxmlformats.org/officeDocument/2006/relationships/theme" Target="../theme/theme5.xml"/><Relationship Id="rId23" Type="http://schemas.openxmlformats.org/officeDocument/2006/relationships/image" Target="../media/image11.png"/><Relationship Id="rId10" Type="http://schemas.openxmlformats.org/officeDocument/2006/relationships/slideLayout" Target="../slideLayouts/slideLayout77.xml"/><Relationship Id="rId19" Type="http://schemas.openxmlformats.org/officeDocument/2006/relationships/tags" Target="../tags/tag27.xml"/><Relationship Id="rId4" Type="http://schemas.openxmlformats.org/officeDocument/2006/relationships/slideLayout" Target="../slideLayouts/slideLayout71.xml"/><Relationship Id="rId9" Type="http://schemas.openxmlformats.org/officeDocument/2006/relationships/slideLayout" Target="../slideLayouts/slideLayout76.xml"/><Relationship Id="rId14" Type="http://schemas.openxmlformats.org/officeDocument/2006/relationships/slideLayout" Target="../slideLayouts/slideLayout81.xml"/><Relationship Id="rId22" Type="http://schemas.openxmlformats.org/officeDocument/2006/relationships/image" Target="../media/image10.emf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emf"/><Relationship Id="rId3" Type="http://schemas.openxmlformats.org/officeDocument/2006/relationships/slideLayout" Target="../slideLayouts/slideLayout84.xml"/><Relationship Id="rId7" Type="http://schemas.openxmlformats.org/officeDocument/2006/relationships/oleObject" Target="../embeddings/oleObject14.bin"/><Relationship Id="rId2" Type="http://schemas.openxmlformats.org/officeDocument/2006/relationships/slideLayout" Target="../slideLayouts/slideLayout83.xml"/><Relationship Id="rId1" Type="http://schemas.openxmlformats.org/officeDocument/2006/relationships/slideLayout" Target="../slideLayouts/slideLayout82.xml"/><Relationship Id="rId6" Type="http://schemas.openxmlformats.org/officeDocument/2006/relationships/tags" Target="../tags/tag41.xml"/><Relationship Id="rId5" Type="http://schemas.openxmlformats.org/officeDocument/2006/relationships/vmlDrawing" Target="../drawings/vmlDrawing14.vml"/><Relationship Id="rId4" Type="http://schemas.openxmlformats.org/officeDocument/2006/relationships/theme" Target="../theme/theme6.xml"/><Relationship Id="rId9" Type="http://schemas.openxmlformats.org/officeDocument/2006/relationships/image" Target="../media/image17.png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5.bin"/><Relationship Id="rId3" Type="http://schemas.openxmlformats.org/officeDocument/2006/relationships/slideLayout" Target="../slideLayouts/slideLayout87.xml"/><Relationship Id="rId7" Type="http://schemas.openxmlformats.org/officeDocument/2006/relationships/tags" Target="../tags/tag42.xml"/><Relationship Id="rId2" Type="http://schemas.openxmlformats.org/officeDocument/2006/relationships/slideLayout" Target="../slideLayouts/slideLayout86.xml"/><Relationship Id="rId1" Type="http://schemas.openxmlformats.org/officeDocument/2006/relationships/slideLayout" Target="../slideLayouts/slideLayout85.xml"/><Relationship Id="rId6" Type="http://schemas.openxmlformats.org/officeDocument/2006/relationships/vmlDrawing" Target="../drawings/vmlDrawing15.vml"/><Relationship Id="rId5" Type="http://schemas.openxmlformats.org/officeDocument/2006/relationships/theme" Target="../theme/theme7.xml"/><Relationship Id="rId10" Type="http://schemas.openxmlformats.org/officeDocument/2006/relationships/image" Target="../media/image17.png"/><Relationship Id="rId4" Type="http://schemas.openxmlformats.org/officeDocument/2006/relationships/slideLayout" Target="../slideLayouts/slideLayout88.xml"/><Relationship Id="rId9" Type="http://schemas.openxmlformats.org/officeDocument/2006/relationships/image" Target="../media/image16.emf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6.xml"/><Relationship Id="rId13" Type="http://schemas.openxmlformats.org/officeDocument/2006/relationships/slideLayout" Target="../slideLayouts/slideLayout101.xml"/><Relationship Id="rId18" Type="http://schemas.openxmlformats.org/officeDocument/2006/relationships/tags" Target="../tags/tag45.xml"/><Relationship Id="rId3" Type="http://schemas.openxmlformats.org/officeDocument/2006/relationships/slideLayout" Target="../slideLayouts/slideLayout91.xml"/><Relationship Id="rId21" Type="http://schemas.openxmlformats.org/officeDocument/2006/relationships/oleObject" Target="../embeddings/oleObject17.bin"/><Relationship Id="rId7" Type="http://schemas.openxmlformats.org/officeDocument/2006/relationships/slideLayout" Target="../slideLayouts/slideLayout95.xml"/><Relationship Id="rId12" Type="http://schemas.openxmlformats.org/officeDocument/2006/relationships/slideLayout" Target="../slideLayouts/slideLayout100.xml"/><Relationship Id="rId17" Type="http://schemas.openxmlformats.org/officeDocument/2006/relationships/tags" Target="../tags/tag44.xml"/><Relationship Id="rId2" Type="http://schemas.openxmlformats.org/officeDocument/2006/relationships/slideLayout" Target="../slideLayouts/slideLayout90.xml"/><Relationship Id="rId16" Type="http://schemas.openxmlformats.org/officeDocument/2006/relationships/vmlDrawing" Target="../drawings/vmlDrawing17.vml"/><Relationship Id="rId20" Type="http://schemas.openxmlformats.org/officeDocument/2006/relationships/tags" Target="../tags/tag47.xml"/><Relationship Id="rId1" Type="http://schemas.openxmlformats.org/officeDocument/2006/relationships/slideLayout" Target="../slideLayouts/slideLayout89.xml"/><Relationship Id="rId6" Type="http://schemas.openxmlformats.org/officeDocument/2006/relationships/slideLayout" Target="../slideLayouts/slideLayout94.xml"/><Relationship Id="rId11" Type="http://schemas.openxmlformats.org/officeDocument/2006/relationships/slideLayout" Target="../slideLayouts/slideLayout99.xml"/><Relationship Id="rId5" Type="http://schemas.openxmlformats.org/officeDocument/2006/relationships/slideLayout" Target="../slideLayouts/slideLayout93.xml"/><Relationship Id="rId15" Type="http://schemas.openxmlformats.org/officeDocument/2006/relationships/theme" Target="../theme/theme8.xml"/><Relationship Id="rId23" Type="http://schemas.openxmlformats.org/officeDocument/2006/relationships/image" Target="../media/image11.png"/><Relationship Id="rId10" Type="http://schemas.openxmlformats.org/officeDocument/2006/relationships/slideLayout" Target="../slideLayouts/slideLayout98.xml"/><Relationship Id="rId19" Type="http://schemas.openxmlformats.org/officeDocument/2006/relationships/tags" Target="../tags/tag46.xml"/><Relationship Id="rId4" Type="http://schemas.openxmlformats.org/officeDocument/2006/relationships/slideLayout" Target="../slideLayouts/slideLayout92.xml"/><Relationship Id="rId9" Type="http://schemas.openxmlformats.org/officeDocument/2006/relationships/slideLayout" Target="../slideLayouts/slideLayout97.xml"/><Relationship Id="rId14" Type="http://schemas.openxmlformats.org/officeDocument/2006/relationships/slideLayout" Target="../slideLayouts/slideLayout102.xml"/><Relationship Id="rId22" Type="http://schemas.openxmlformats.org/officeDocument/2006/relationships/image" Target="../media/image10.emf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0.xml"/><Relationship Id="rId13" Type="http://schemas.openxmlformats.org/officeDocument/2006/relationships/slideLayout" Target="../slideLayouts/slideLayout115.xml"/><Relationship Id="rId18" Type="http://schemas.openxmlformats.org/officeDocument/2006/relationships/tags" Target="../tags/tag61.xml"/><Relationship Id="rId3" Type="http://schemas.openxmlformats.org/officeDocument/2006/relationships/slideLayout" Target="../slideLayouts/slideLayout105.xml"/><Relationship Id="rId21" Type="http://schemas.openxmlformats.org/officeDocument/2006/relationships/oleObject" Target="../embeddings/oleObject21.bin"/><Relationship Id="rId7" Type="http://schemas.openxmlformats.org/officeDocument/2006/relationships/slideLayout" Target="../slideLayouts/slideLayout109.xml"/><Relationship Id="rId12" Type="http://schemas.openxmlformats.org/officeDocument/2006/relationships/slideLayout" Target="../slideLayouts/slideLayout114.xml"/><Relationship Id="rId17" Type="http://schemas.openxmlformats.org/officeDocument/2006/relationships/tags" Target="../tags/tag60.xml"/><Relationship Id="rId2" Type="http://schemas.openxmlformats.org/officeDocument/2006/relationships/slideLayout" Target="../slideLayouts/slideLayout104.xml"/><Relationship Id="rId16" Type="http://schemas.openxmlformats.org/officeDocument/2006/relationships/vmlDrawing" Target="../drawings/vmlDrawing21.vml"/><Relationship Id="rId20" Type="http://schemas.openxmlformats.org/officeDocument/2006/relationships/tags" Target="../tags/tag63.xml"/><Relationship Id="rId1" Type="http://schemas.openxmlformats.org/officeDocument/2006/relationships/slideLayout" Target="../slideLayouts/slideLayout103.xml"/><Relationship Id="rId6" Type="http://schemas.openxmlformats.org/officeDocument/2006/relationships/slideLayout" Target="../slideLayouts/slideLayout108.xml"/><Relationship Id="rId11" Type="http://schemas.openxmlformats.org/officeDocument/2006/relationships/slideLayout" Target="../slideLayouts/slideLayout113.xml"/><Relationship Id="rId5" Type="http://schemas.openxmlformats.org/officeDocument/2006/relationships/slideLayout" Target="../slideLayouts/slideLayout107.xml"/><Relationship Id="rId15" Type="http://schemas.openxmlformats.org/officeDocument/2006/relationships/theme" Target="../theme/theme9.xml"/><Relationship Id="rId23" Type="http://schemas.openxmlformats.org/officeDocument/2006/relationships/image" Target="../media/image11.png"/><Relationship Id="rId10" Type="http://schemas.openxmlformats.org/officeDocument/2006/relationships/slideLayout" Target="../slideLayouts/slideLayout112.xml"/><Relationship Id="rId19" Type="http://schemas.openxmlformats.org/officeDocument/2006/relationships/tags" Target="../tags/tag62.xml"/><Relationship Id="rId4" Type="http://schemas.openxmlformats.org/officeDocument/2006/relationships/slideLayout" Target="../slideLayouts/slideLayout106.xml"/><Relationship Id="rId9" Type="http://schemas.openxmlformats.org/officeDocument/2006/relationships/slideLayout" Target="../slideLayouts/slideLayout111.xml"/><Relationship Id="rId14" Type="http://schemas.openxmlformats.org/officeDocument/2006/relationships/slideLayout" Target="../slideLayouts/slideLayout116.xml"/><Relationship Id="rId22" Type="http://schemas.openxmlformats.org/officeDocument/2006/relationships/image" Target="../media/image10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E7E7E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1CE05517-2B6A-412C-A5A0-0DE73E8523F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32919416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81" name="think-cell Slide" r:id="rId10" imgW="347" imgH="348" progId="TCLayout.ActiveDocument.1">
                  <p:embed/>
                </p:oleObj>
              </mc:Choice>
              <mc:Fallback>
                <p:oleObj name="think-cell Slide" r:id="rId10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04BD2006-3A77-4B54-B443-813BA80A3916}"/>
              </a:ext>
            </a:extLst>
          </p:cNvPr>
          <p:cNvSpPr/>
          <p:nvPr userDrawn="1">
            <p:custDataLst>
              <p:tags r:id="rId9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800" b="0" i="0" baseline="0" dirty="0">
              <a:latin typeface="Gill Sans MT" panose="020B0502020104020203" pitchFamily="34" charset="0"/>
              <a:ea typeface="+mj-ea"/>
              <a:sym typeface="Gill Sans MT" panose="020B0502020104020203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914805" y="457200"/>
            <a:ext cx="10363200" cy="914400"/>
          </a:xfrm>
          <a:prstGeom prst="rect">
            <a:avLst/>
          </a:prstGeom>
        </p:spPr>
        <p:txBody>
          <a:bodyPr vert="horz" lIns="91440" tIns="45720" rIns="91440" bIns="45720" rtlCol="0" anchor="b" anchorCtr="0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14400" y="1600200"/>
            <a:ext cx="103632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203200" y="6530079"/>
            <a:ext cx="2844800" cy="184666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l">
              <a:defRPr sz="600" b="0" i="0">
                <a:solidFill>
                  <a:srgbClr val="635C5B"/>
                </a:solidFill>
                <a:latin typeface="Gill Sans MT"/>
                <a:cs typeface="Gill Sans MT"/>
              </a:defRPr>
            </a:lvl1pPr>
          </a:lstStyle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165600" y="6530079"/>
            <a:ext cx="3860800" cy="184666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ctr">
              <a:defRPr sz="600" b="0" i="0">
                <a:solidFill>
                  <a:srgbClr val="635C5B"/>
                </a:solidFill>
                <a:latin typeface="Gill Sans MT"/>
                <a:cs typeface="Gill Sans MT"/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144000" y="6530079"/>
            <a:ext cx="2844800" cy="184666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r">
              <a:defRPr sz="600" b="0" i="0">
                <a:solidFill>
                  <a:srgbClr val="635C5B"/>
                </a:solidFill>
                <a:latin typeface="Gill Sans MT"/>
                <a:cs typeface="Gill Sans MT"/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Frame 6"/>
          <p:cNvSpPr/>
          <p:nvPr/>
        </p:nvSpPr>
        <p:spPr>
          <a:xfrm>
            <a:off x="0" y="0"/>
            <a:ext cx="12192000" cy="6858000"/>
          </a:xfrm>
          <a:prstGeom prst="frame">
            <a:avLst>
              <a:gd name="adj1" fmla="val 2222"/>
            </a:avLst>
          </a:prstGeom>
          <a:solidFill>
            <a:srgbClr val="FFFFF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b="0" i="0" dirty="0">
              <a:solidFill>
                <a:srgbClr val="FFFFFF"/>
              </a:solidFill>
              <a:latin typeface="Gill Sans MT"/>
              <a:cs typeface="Gill Sans MT"/>
            </a:endParaRPr>
          </a:p>
        </p:txBody>
      </p:sp>
    </p:spTree>
    <p:extLst>
      <p:ext uri="{BB962C8B-B14F-4D97-AF65-F5344CB8AC3E}">
        <p14:creationId xmlns:p14="http://schemas.microsoft.com/office/powerpoint/2010/main" val="88133349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8" r:id="rId1"/>
    <p:sldLayoutId id="2147483674" r:id="rId2"/>
    <p:sldLayoutId id="2147483654" r:id="rId3"/>
    <p:sldLayoutId id="2147483708" r:id="rId4"/>
    <p:sldLayoutId id="2147483811" r:id="rId5"/>
  </p:sldLayoutIdLst>
  <p:hf hdr="0" ftr="0" dt="0"/>
  <p:txStyles>
    <p:titleStyle>
      <a:lvl1pPr algn="l" defTabSz="457200" rtl="0" eaLnBrk="1" latinLnBrk="0" hangingPunct="1">
        <a:spcBef>
          <a:spcPct val="0"/>
        </a:spcBef>
        <a:buNone/>
        <a:defRPr sz="2800" b="0" i="0" kern="1200">
          <a:solidFill>
            <a:srgbClr val="BA0C2F"/>
          </a:solidFill>
          <a:latin typeface="Gill Sans MT"/>
          <a:ea typeface="+mj-ea"/>
          <a:cs typeface="Gill Sans MT"/>
        </a:defRPr>
      </a:lvl1pPr>
    </p:titleStyle>
    <p:bodyStyle>
      <a:lvl1pPr marL="230188" indent="-230188" algn="l" defTabSz="457200" rtl="0" eaLnBrk="1" latinLnBrk="0" hangingPunct="1">
        <a:spcBef>
          <a:spcPts val="0"/>
        </a:spcBef>
        <a:spcAft>
          <a:spcPts val="1200"/>
        </a:spcAft>
        <a:buFont typeface="Arial"/>
        <a:buChar char="•"/>
        <a:defRPr sz="2000" b="0" i="0" kern="1200">
          <a:solidFill>
            <a:srgbClr val="635C5B"/>
          </a:solidFill>
          <a:latin typeface="Gill Sans MT"/>
          <a:ea typeface="+mn-ea"/>
          <a:cs typeface="Gill Sans MT"/>
        </a:defRPr>
      </a:lvl1pPr>
      <a:lvl2pPr marL="684213" indent="-230188" algn="l" defTabSz="457200" rtl="0" eaLnBrk="1" latinLnBrk="0" hangingPunct="1">
        <a:spcBef>
          <a:spcPts val="0"/>
        </a:spcBef>
        <a:spcAft>
          <a:spcPts val="1200"/>
        </a:spcAft>
        <a:buFont typeface="Arial"/>
        <a:buChar char="–"/>
        <a:defRPr sz="2000" b="0" i="0" kern="1200">
          <a:solidFill>
            <a:srgbClr val="635C5B"/>
          </a:solidFill>
          <a:latin typeface="Gill Sans MT"/>
          <a:ea typeface="+mn-ea"/>
          <a:cs typeface="Gill Sans MT"/>
        </a:defRPr>
      </a:lvl2pPr>
      <a:lvl3pPr marL="914400" indent="-230188" algn="l" defTabSz="457200" rtl="0" eaLnBrk="1" latinLnBrk="0" hangingPunct="1">
        <a:spcBef>
          <a:spcPct val="20000"/>
        </a:spcBef>
        <a:buFont typeface="Arial"/>
        <a:buChar char="•"/>
        <a:defRPr sz="1800" b="0" i="0" kern="1200">
          <a:solidFill>
            <a:srgbClr val="6C6463"/>
          </a:solidFill>
          <a:latin typeface="Gill Sans MT"/>
          <a:ea typeface="+mn-ea"/>
          <a:cs typeface="Gill Sans MT"/>
        </a:defRPr>
      </a:lvl3pPr>
      <a:lvl4pPr marL="1146175" indent="-231775" algn="l" defTabSz="457200" rtl="0" eaLnBrk="1" latinLnBrk="0" hangingPunct="1">
        <a:spcBef>
          <a:spcPct val="20000"/>
        </a:spcBef>
        <a:buFont typeface="Arial"/>
        <a:buChar char="–"/>
        <a:defRPr sz="1600" b="0" i="0" kern="1200">
          <a:solidFill>
            <a:srgbClr val="6C6463"/>
          </a:solidFill>
          <a:latin typeface="Gill Sans MT"/>
          <a:ea typeface="+mn-ea"/>
          <a:cs typeface="Gill Sans MT"/>
        </a:defRPr>
      </a:lvl4pPr>
      <a:lvl5pPr marL="1255713" indent="-230188" algn="l" defTabSz="457200" rtl="0" eaLnBrk="1" latinLnBrk="0" hangingPunct="1">
        <a:spcBef>
          <a:spcPct val="20000"/>
        </a:spcBef>
        <a:buFont typeface="Arial"/>
        <a:buChar char="»"/>
        <a:defRPr sz="1400" b="0" i="0" kern="1200">
          <a:solidFill>
            <a:srgbClr val="6C6463"/>
          </a:solidFill>
          <a:latin typeface="Gill Sans MT"/>
          <a:ea typeface="+mn-ea"/>
          <a:cs typeface="Gill Sans MT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1"/>
            </p:custDataLst>
            <p:extLst>
              <p:ext uri="{D42A27DB-BD31-4B8C-83A1-F6EECF244321}">
                <p14:modId xmlns:p14="http://schemas.microsoft.com/office/powerpoint/2010/main" val="1095692932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8" name="think-cell Slide" r:id="rId22" imgW="270" imgH="270" progId="TCLayout.ActiveDocument.1">
                  <p:embed/>
                </p:oleObj>
              </mc:Choice>
              <mc:Fallback>
                <p:oleObj name="think-cell Slide" r:id="rId22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Text Placeholder 18"/>
          <p:cNvSpPr txBox="1">
            <a:spLocks/>
          </p:cNvSpPr>
          <p:nvPr userDrawn="1"/>
        </p:nvSpPr>
        <p:spPr>
          <a:xfrm>
            <a:off x="412682" y="6370117"/>
            <a:ext cx="7770501" cy="205345"/>
          </a:xfrm>
          <a:prstGeom prst="rect">
            <a:avLst/>
          </a:prstGeom>
        </p:spPr>
        <p:txBody>
          <a:bodyPr vert="horz"/>
          <a:lstStyle>
            <a:lvl1pPr marL="0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 baseline="0">
                <a:solidFill>
                  <a:srgbClr val="898C8F"/>
                </a:solidFill>
                <a:latin typeface="+mj-lt"/>
                <a:ea typeface="+mn-ea"/>
                <a:cs typeface="+mn-cs"/>
              </a:defRPr>
            </a:lvl1pPr>
            <a:lvl2pPr marL="457178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2pPr>
            <a:lvl3pPr marL="914354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3pPr>
            <a:lvl4pPr marL="1371532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4pPr>
            <a:lvl5pPr marL="1828709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5pPr>
            <a:lvl6pPr marL="21748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6pPr>
            <a:lvl7pPr marL="26320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7pPr>
            <a:lvl8pPr marL="30892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8pPr>
            <a:lvl9pPr marL="35464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 sz="900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/ </a:t>
            </a:r>
            <a:r>
              <a:rPr lang="en-US" sz="900" kern="1200" cap="all" normalizeH="0" baseline="0" dirty="0">
                <a:solidFill>
                  <a:schemeClr val="accent1">
                    <a:lumMod val="60000"/>
                    <a:lumOff val="40000"/>
                  </a:schemeClr>
                </a:solidFill>
                <a:latin typeface="+mj-lt"/>
                <a:ea typeface="+mn-ea"/>
                <a:cs typeface="+mn-cs"/>
              </a:rPr>
              <a:t>©ECOFYS, A Navigant – A </a:t>
            </a:r>
            <a:r>
              <a:rPr lang="en-US" sz="900" kern="1200" cap="all" normalizeH="0" baseline="0" dirty="0" err="1">
                <a:solidFill>
                  <a:schemeClr val="accent1">
                    <a:lumMod val="60000"/>
                    <a:lumOff val="40000"/>
                  </a:schemeClr>
                </a:solidFill>
                <a:latin typeface="+mj-lt"/>
                <a:ea typeface="+mn-ea"/>
                <a:cs typeface="+mn-cs"/>
              </a:rPr>
              <a:t>Guidehouse</a:t>
            </a:r>
            <a:r>
              <a:rPr lang="en-US" sz="900" kern="1200" cap="all" normalizeH="0" baseline="0" dirty="0">
                <a:solidFill>
                  <a:schemeClr val="accent1">
                    <a:lumMod val="60000"/>
                    <a:lumOff val="40000"/>
                  </a:schemeClr>
                </a:solidFill>
                <a:latin typeface="+mj-lt"/>
                <a:ea typeface="+mn-ea"/>
                <a:cs typeface="+mn-cs"/>
              </a:rPr>
              <a:t> Company </a:t>
            </a:r>
            <a:r>
              <a:rPr lang="en-US" sz="900" kern="1200" cap="all" normalizeH="0" baseline="0" dirty="0" err="1">
                <a:solidFill>
                  <a:schemeClr val="accent1">
                    <a:lumMod val="60000"/>
                    <a:lumOff val="40000"/>
                  </a:schemeClr>
                </a:solidFill>
                <a:latin typeface="+mj-lt"/>
                <a:ea typeface="+mn-ea"/>
                <a:cs typeface="+mn-cs"/>
              </a:rPr>
              <a:t>Company</a:t>
            </a:r>
            <a:r>
              <a:rPr lang="en-US" sz="900" baseline="0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. All rights Reserved</a:t>
            </a:r>
            <a:endParaRPr lang="en-US" sz="900" dirty="0">
              <a:solidFill>
                <a:schemeClr val="accent1">
                  <a:lumMod val="60000"/>
                  <a:lumOff val="40000"/>
                </a:schemeClr>
              </a:solidFill>
            </a:endParaRPr>
          </a:p>
        </p:txBody>
      </p:sp>
      <p:cxnSp>
        <p:nvCxnSpPr>
          <p:cNvPr id="22" name="Straight Connector 21"/>
          <p:cNvCxnSpPr/>
          <p:nvPr userDrawn="1"/>
        </p:nvCxnSpPr>
        <p:spPr>
          <a:xfrm>
            <a:off x="304802" y="6250077"/>
            <a:ext cx="11592985" cy="0"/>
          </a:xfrm>
          <a:prstGeom prst="line">
            <a:avLst/>
          </a:prstGeom>
          <a:ln w="9525">
            <a:solidFill>
              <a:srgbClr val="555759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4" name="Text Placeholder 18"/>
          <p:cNvSpPr txBox="1">
            <a:spLocks/>
          </p:cNvSpPr>
          <p:nvPr userDrawn="1"/>
        </p:nvSpPr>
        <p:spPr>
          <a:xfrm>
            <a:off x="182020" y="6365442"/>
            <a:ext cx="478315" cy="231169"/>
          </a:xfrm>
          <a:prstGeom prst="rect">
            <a:avLst/>
          </a:prstGeom>
        </p:spPr>
        <p:txBody>
          <a:bodyPr vert="horz"/>
          <a:lstStyle>
            <a:lvl1pPr marL="0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 baseline="0">
                <a:solidFill>
                  <a:srgbClr val="898C8F"/>
                </a:solidFill>
                <a:latin typeface="+mj-lt"/>
                <a:ea typeface="+mn-ea"/>
                <a:cs typeface="+mn-cs"/>
              </a:defRPr>
            </a:lvl1pPr>
            <a:lvl2pPr marL="457178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2pPr>
            <a:lvl3pPr marL="914354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3pPr>
            <a:lvl4pPr marL="1371532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4pPr>
            <a:lvl5pPr marL="1828709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5pPr>
            <a:lvl6pPr marL="21748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6pPr>
            <a:lvl7pPr marL="26320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7pPr>
            <a:lvl8pPr marL="30892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8pPr>
            <a:lvl9pPr marL="35464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l"/>
            <a:fld id="{C0D4A90D-707C-4CFA-8F87-17CF45DE2B45}" type="slidenum">
              <a:rPr lang="en-US" sz="900" smtClean="0">
                <a:solidFill>
                  <a:srgbClr val="95D600"/>
                </a:solidFill>
              </a:rPr>
              <a:pPr algn="l"/>
              <a:t>‹#›</a:t>
            </a:fld>
            <a:endParaRPr lang="en-US" sz="900"/>
          </a:p>
        </p:txBody>
      </p:sp>
      <p:sp>
        <p:nvSpPr>
          <p:cNvPr id="1037" name="Rectangle 14"/>
          <p:cNvSpPr>
            <a:spLocks noGrp="1" noChangeArrowheads="1"/>
          </p:cNvSpPr>
          <p:nvPr userDrawn="1">
            <p:ph type="body" idx="1"/>
          </p:nvPr>
        </p:nvSpPr>
        <p:spPr bwMode="auto">
          <a:xfrm>
            <a:off x="2772747" y="1262358"/>
            <a:ext cx="9142163" cy="49066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4" name="Straight Connector 3"/>
          <p:cNvCxnSpPr/>
          <p:nvPr userDrawn="1"/>
        </p:nvCxnSpPr>
        <p:spPr bwMode="auto">
          <a:xfrm flipH="1">
            <a:off x="0" y="6302465"/>
            <a:ext cx="12192000" cy="0"/>
          </a:xfrm>
          <a:prstGeom prst="line">
            <a:avLst/>
          </a:prstGeom>
          <a:solidFill>
            <a:schemeClr val="accent1"/>
          </a:solidFill>
          <a:ln w="19050" cap="flat" cmpd="dbl" algn="ctr">
            <a:noFill/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5" name="Straight Connector 4"/>
          <p:cNvCxnSpPr/>
          <p:nvPr userDrawn="1"/>
        </p:nvCxnSpPr>
        <p:spPr bwMode="auto">
          <a:xfrm>
            <a:off x="2772747" y="1022438"/>
            <a:ext cx="9419253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1" name="Freeform 10"/>
          <p:cNvSpPr/>
          <p:nvPr userDrawn="1"/>
        </p:nvSpPr>
        <p:spPr>
          <a:xfrm>
            <a:off x="1" y="1"/>
            <a:ext cx="2781343" cy="5136220"/>
          </a:xfrm>
          <a:custGeom>
            <a:avLst/>
            <a:gdLst>
              <a:gd name="connsiteX0" fmla="*/ 0 w 1661746"/>
              <a:gd name="connsiteY0" fmla="*/ 0 h 4044462"/>
              <a:gd name="connsiteX1" fmla="*/ 1661746 w 1661746"/>
              <a:gd name="connsiteY1" fmla="*/ 0 h 4044462"/>
              <a:gd name="connsiteX2" fmla="*/ 17585 w 1661746"/>
              <a:gd name="connsiteY2" fmla="*/ 4044462 h 4044462"/>
              <a:gd name="connsiteX3" fmla="*/ 0 w 1661746"/>
              <a:gd name="connsiteY3" fmla="*/ 0 h 4044462"/>
              <a:gd name="connsiteX0" fmla="*/ 0 w 1661746"/>
              <a:gd name="connsiteY0" fmla="*/ 0 h 4039867"/>
              <a:gd name="connsiteX1" fmla="*/ 1661746 w 1661746"/>
              <a:gd name="connsiteY1" fmla="*/ 0 h 4039867"/>
              <a:gd name="connsiteX2" fmla="*/ 12990 w 1661746"/>
              <a:gd name="connsiteY2" fmla="*/ 4039867 h 4039867"/>
              <a:gd name="connsiteX3" fmla="*/ 0 w 1661746"/>
              <a:gd name="connsiteY3" fmla="*/ 0 h 4039867"/>
              <a:gd name="connsiteX0" fmla="*/ 170948 w 1648895"/>
              <a:gd name="connsiteY0" fmla="*/ 284889 h 4039867"/>
              <a:gd name="connsiteX1" fmla="*/ 1648895 w 1648895"/>
              <a:gd name="connsiteY1" fmla="*/ 0 h 4039867"/>
              <a:gd name="connsiteX2" fmla="*/ 139 w 1648895"/>
              <a:gd name="connsiteY2" fmla="*/ 4039867 h 4039867"/>
              <a:gd name="connsiteX3" fmla="*/ 170948 w 1648895"/>
              <a:gd name="connsiteY3" fmla="*/ 284889 h 4039867"/>
              <a:gd name="connsiteX0" fmla="*/ 170948 w 1653490"/>
              <a:gd name="connsiteY0" fmla="*/ 225154 h 3980132"/>
              <a:gd name="connsiteX1" fmla="*/ 1653490 w 1653490"/>
              <a:gd name="connsiteY1" fmla="*/ 0 h 3980132"/>
              <a:gd name="connsiteX2" fmla="*/ 139 w 1653490"/>
              <a:gd name="connsiteY2" fmla="*/ 3980132 h 3980132"/>
              <a:gd name="connsiteX3" fmla="*/ 170948 w 1653490"/>
              <a:gd name="connsiteY3" fmla="*/ 225154 h 3980132"/>
              <a:gd name="connsiteX0" fmla="*/ 170948 w 1658085"/>
              <a:gd name="connsiteY0" fmla="*/ 284889 h 4039867"/>
              <a:gd name="connsiteX1" fmla="*/ 1658085 w 1658085"/>
              <a:gd name="connsiteY1" fmla="*/ 0 h 4039867"/>
              <a:gd name="connsiteX2" fmla="*/ 139 w 1658085"/>
              <a:gd name="connsiteY2" fmla="*/ 4039867 h 4039867"/>
              <a:gd name="connsiteX3" fmla="*/ 170948 w 1658085"/>
              <a:gd name="connsiteY3" fmla="*/ 284889 h 4039867"/>
              <a:gd name="connsiteX0" fmla="*/ 0 w 1666341"/>
              <a:gd name="connsiteY0" fmla="*/ 4595 h 4039867"/>
              <a:gd name="connsiteX1" fmla="*/ 1666341 w 1666341"/>
              <a:gd name="connsiteY1" fmla="*/ 0 h 4039867"/>
              <a:gd name="connsiteX2" fmla="*/ 8395 w 1666341"/>
              <a:gd name="connsiteY2" fmla="*/ 4039867 h 4039867"/>
              <a:gd name="connsiteX3" fmla="*/ 0 w 1666341"/>
              <a:gd name="connsiteY3" fmla="*/ 4595 h 4039867"/>
              <a:gd name="connsiteX0" fmla="*/ 0 w 1666341"/>
              <a:gd name="connsiteY0" fmla="*/ 4595 h 4035272"/>
              <a:gd name="connsiteX1" fmla="*/ 1666341 w 1666341"/>
              <a:gd name="connsiteY1" fmla="*/ 0 h 4035272"/>
              <a:gd name="connsiteX2" fmla="*/ 8395 w 1666341"/>
              <a:gd name="connsiteY2" fmla="*/ 4035272 h 4035272"/>
              <a:gd name="connsiteX3" fmla="*/ 0 w 1666341"/>
              <a:gd name="connsiteY3" fmla="*/ 4595 h 4035272"/>
              <a:gd name="connsiteX0" fmla="*/ 56296 w 1658307"/>
              <a:gd name="connsiteY0" fmla="*/ 114874 h 4035272"/>
              <a:gd name="connsiteX1" fmla="*/ 1658307 w 1658307"/>
              <a:gd name="connsiteY1" fmla="*/ 0 h 4035272"/>
              <a:gd name="connsiteX2" fmla="*/ 361 w 1658307"/>
              <a:gd name="connsiteY2" fmla="*/ 4035272 h 4035272"/>
              <a:gd name="connsiteX3" fmla="*/ 56296 w 1658307"/>
              <a:gd name="connsiteY3" fmla="*/ 114874 h 4035272"/>
              <a:gd name="connsiteX0" fmla="*/ 2400 w 1659551"/>
              <a:gd name="connsiteY0" fmla="*/ 9190 h 4035272"/>
              <a:gd name="connsiteX1" fmla="*/ 1659551 w 1659551"/>
              <a:gd name="connsiteY1" fmla="*/ 0 h 4035272"/>
              <a:gd name="connsiteX2" fmla="*/ 1605 w 1659551"/>
              <a:gd name="connsiteY2" fmla="*/ 4035272 h 4035272"/>
              <a:gd name="connsiteX3" fmla="*/ 2400 w 1659551"/>
              <a:gd name="connsiteY3" fmla="*/ 9190 h 4035272"/>
              <a:gd name="connsiteX0" fmla="*/ 146 w 1659873"/>
              <a:gd name="connsiteY0" fmla="*/ 6614 h 4035272"/>
              <a:gd name="connsiteX1" fmla="*/ 1659873 w 1659873"/>
              <a:gd name="connsiteY1" fmla="*/ 0 h 4035272"/>
              <a:gd name="connsiteX2" fmla="*/ 1927 w 1659873"/>
              <a:gd name="connsiteY2" fmla="*/ 4035272 h 4035272"/>
              <a:gd name="connsiteX3" fmla="*/ 146 w 1659873"/>
              <a:gd name="connsiteY3" fmla="*/ 6614 h 4035272"/>
              <a:gd name="connsiteX0" fmla="*/ 146 w 1649570"/>
              <a:gd name="connsiteY0" fmla="*/ 0 h 4028658"/>
              <a:gd name="connsiteX1" fmla="*/ 1649570 w 1649570"/>
              <a:gd name="connsiteY1" fmla="*/ 11416 h 4028658"/>
              <a:gd name="connsiteX2" fmla="*/ 1927 w 1649570"/>
              <a:gd name="connsiteY2" fmla="*/ 4028658 h 4028658"/>
              <a:gd name="connsiteX3" fmla="*/ 146 w 1649570"/>
              <a:gd name="connsiteY3" fmla="*/ 0 h 4028658"/>
              <a:gd name="connsiteX0" fmla="*/ 57814 w 1647996"/>
              <a:gd name="connsiteY0" fmla="*/ 109645 h 4017242"/>
              <a:gd name="connsiteX1" fmla="*/ 1647996 w 1647996"/>
              <a:gd name="connsiteY1" fmla="*/ 0 h 4017242"/>
              <a:gd name="connsiteX2" fmla="*/ 353 w 1647996"/>
              <a:gd name="connsiteY2" fmla="*/ 4017242 h 4017242"/>
              <a:gd name="connsiteX3" fmla="*/ 57814 w 1647996"/>
              <a:gd name="connsiteY3" fmla="*/ 109645 h 4017242"/>
              <a:gd name="connsiteX0" fmla="*/ 52689 w 1648022"/>
              <a:gd name="connsiteY0" fmla="*/ 65857 h 4017242"/>
              <a:gd name="connsiteX1" fmla="*/ 1648022 w 1648022"/>
              <a:gd name="connsiteY1" fmla="*/ 0 h 4017242"/>
              <a:gd name="connsiteX2" fmla="*/ 379 w 1648022"/>
              <a:gd name="connsiteY2" fmla="*/ 4017242 h 4017242"/>
              <a:gd name="connsiteX3" fmla="*/ 52689 w 1648022"/>
              <a:gd name="connsiteY3" fmla="*/ 65857 h 4017242"/>
              <a:gd name="connsiteX0" fmla="*/ 9598 w 1648720"/>
              <a:gd name="connsiteY0" fmla="*/ 0 h 4020931"/>
              <a:gd name="connsiteX1" fmla="*/ 1648720 w 1648720"/>
              <a:gd name="connsiteY1" fmla="*/ 3689 h 4020931"/>
              <a:gd name="connsiteX2" fmla="*/ 1077 w 1648720"/>
              <a:gd name="connsiteY2" fmla="*/ 4020931 h 4020931"/>
              <a:gd name="connsiteX3" fmla="*/ 9598 w 1648720"/>
              <a:gd name="connsiteY3" fmla="*/ 0 h 4020931"/>
              <a:gd name="connsiteX0" fmla="*/ 12067 w 1651189"/>
              <a:gd name="connsiteY0" fmla="*/ 0 h 4023507"/>
              <a:gd name="connsiteX1" fmla="*/ 1651189 w 1651189"/>
              <a:gd name="connsiteY1" fmla="*/ 3689 h 4023507"/>
              <a:gd name="connsiteX2" fmla="*/ 971 w 1651189"/>
              <a:gd name="connsiteY2" fmla="*/ 4023507 h 4023507"/>
              <a:gd name="connsiteX3" fmla="*/ 12067 w 1651189"/>
              <a:gd name="connsiteY3" fmla="*/ 0 h 4023507"/>
              <a:gd name="connsiteX0" fmla="*/ 0 w 1639122"/>
              <a:gd name="connsiteY0" fmla="*/ 0 h 4023507"/>
              <a:gd name="connsiteX1" fmla="*/ 1639122 w 1639122"/>
              <a:gd name="connsiteY1" fmla="*/ 3689 h 4023507"/>
              <a:gd name="connsiteX2" fmla="*/ 6935 w 1639122"/>
              <a:gd name="connsiteY2" fmla="*/ 4023507 h 4023507"/>
              <a:gd name="connsiteX3" fmla="*/ 0 w 1639122"/>
              <a:gd name="connsiteY3" fmla="*/ 0 h 4023507"/>
              <a:gd name="connsiteX0" fmla="*/ 17059 w 1656181"/>
              <a:gd name="connsiteY0" fmla="*/ 0 h 4015780"/>
              <a:gd name="connsiteX1" fmla="*/ 1656181 w 1656181"/>
              <a:gd name="connsiteY1" fmla="*/ 3689 h 4015780"/>
              <a:gd name="connsiteX2" fmla="*/ 812 w 1656181"/>
              <a:gd name="connsiteY2" fmla="*/ 4015780 h 4015780"/>
              <a:gd name="connsiteX3" fmla="*/ 17059 w 1656181"/>
              <a:gd name="connsiteY3" fmla="*/ 0 h 4015780"/>
              <a:gd name="connsiteX0" fmla="*/ 0 w 1639122"/>
              <a:gd name="connsiteY0" fmla="*/ 0 h 3899870"/>
              <a:gd name="connsiteX1" fmla="*/ 1639122 w 1639122"/>
              <a:gd name="connsiteY1" fmla="*/ 3689 h 3899870"/>
              <a:gd name="connsiteX2" fmla="*/ 73905 w 1639122"/>
              <a:gd name="connsiteY2" fmla="*/ 3899870 h 3899870"/>
              <a:gd name="connsiteX3" fmla="*/ 0 w 1639122"/>
              <a:gd name="connsiteY3" fmla="*/ 0 h 3899870"/>
              <a:gd name="connsiteX0" fmla="*/ 0 w 1639122"/>
              <a:gd name="connsiteY0" fmla="*/ 0 h 3987447"/>
              <a:gd name="connsiteX1" fmla="*/ 1639122 w 1639122"/>
              <a:gd name="connsiteY1" fmla="*/ 3689 h 3987447"/>
              <a:gd name="connsiteX2" fmla="*/ 6935 w 1639122"/>
              <a:gd name="connsiteY2" fmla="*/ 3987447 h 3987447"/>
              <a:gd name="connsiteX3" fmla="*/ 0 w 1639122"/>
              <a:gd name="connsiteY3" fmla="*/ 0 h 3987447"/>
              <a:gd name="connsiteX0" fmla="*/ 144 w 1639266"/>
              <a:gd name="connsiteY0" fmla="*/ 0 h 3987447"/>
              <a:gd name="connsiteX1" fmla="*/ 1639266 w 1639266"/>
              <a:gd name="connsiteY1" fmla="*/ 3689 h 3987447"/>
              <a:gd name="connsiteX2" fmla="*/ 1927 w 1639266"/>
              <a:gd name="connsiteY2" fmla="*/ 3987447 h 3987447"/>
              <a:gd name="connsiteX3" fmla="*/ 144 w 1639266"/>
              <a:gd name="connsiteY3" fmla="*/ 0 h 3987447"/>
              <a:gd name="connsiteX0" fmla="*/ 2397 w 1641519"/>
              <a:gd name="connsiteY0" fmla="*/ 0 h 3995174"/>
              <a:gd name="connsiteX1" fmla="*/ 1641519 w 1641519"/>
              <a:gd name="connsiteY1" fmla="*/ 3689 h 3995174"/>
              <a:gd name="connsiteX2" fmla="*/ 1605 w 1641519"/>
              <a:gd name="connsiteY2" fmla="*/ 3995174 h 3995174"/>
              <a:gd name="connsiteX3" fmla="*/ 2397 w 1641519"/>
              <a:gd name="connsiteY3" fmla="*/ 0 h 3995174"/>
              <a:gd name="connsiteX0" fmla="*/ 9681 w 1648803"/>
              <a:gd name="connsiteY0" fmla="*/ 0 h 5116681"/>
              <a:gd name="connsiteX1" fmla="*/ 1648803 w 1648803"/>
              <a:gd name="connsiteY1" fmla="*/ 3689 h 5116681"/>
              <a:gd name="connsiteX2" fmla="*/ 1073 w 1648803"/>
              <a:gd name="connsiteY2" fmla="*/ 5116681 h 5116681"/>
              <a:gd name="connsiteX3" fmla="*/ 9681 w 1648803"/>
              <a:gd name="connsiteY3" fmla="*/ 0 h 5116681"/>
              <a:gd name="connsiteX0" fmla="*/ 9681 w 2078650"/>
              <a:gd name="connsiteY0" fmla="*/ 0 h 5116681"/>
              <a:gd name="connsiteX1" fmla="*/ 2078650 w 2078650"/>
              <a:gd name="connsiteY1" fmla="*/ 3689 h 5116681"/>
              <a:gd name="connsiteX2" fmla="*/ 1073 w 2078650"/>
              <a:gd name="connsiteY2" fmla="*/ 5116681 h 5116681"/>
              <a:gd name="connsiteX3" fmla="*/ 9681 w 2078650"/>
              <a:gd name="connsiteY3" fmla="*/ 0 h 5116681"/>
              <a:gd name="connsiteX0" fmla="*/ 5986 w 2078862"/>
              <a:gd name="connsiteY0" fmla="*/ 0 h 5120589"/>
              <a:gd name="connsiteX1" fmla="*/ 2078862 w 2078862"/>
              <a:gd name="connsiteY1" fmla="*/ 7597 h 5120589"/>
              <a:gd name="connsiteX2" fmla="*/ 1285 w 2078862"/>
              <a:gd name="connsiteY2" fmla="*/ 5120589 h 5120589"/>
              <a:gd name="connsiteX3" fmla="*/ 5986 w 2078862"/>
              <a:gd name="connsiteY3" fmla="*/ 0 h 5120589"/>
              <a:gd name="connsiteX0" fmla="*/ 2400 w 2075276"/>
              <a:gd name="connsiteY0" fmla="*/ 0 h 5108866"/>
              <a:gd name="connsiteX1" fmla="*/ 2075276 w 2075276"/>
              <a:gd name="connsiteY1" fmla="*/ 7597 h 5108866"/>
              <a:gd name="connsiteX2" fmla="*/ 1606 w 2075276"/>
              <a:gd name="connsiteY2" fmla="*/ 5108866 h 5108866"/>
              <a:gd name="connsiteX3" fmla="*/ 2400 w 2075276"/>
              <a:gd name="connsiteY3" fmla="*/ 0 h 5108866"/>
              <a:gd name="connsiteX0" fmla="*/ 5987 w 2078863"/>
              <a:gd name="connsiteY0" fmla="*/ 0 h 5136220"/>
              <a:gd name="connsiteX1" fmla="*/ 2078863 w 2078863"/>
              <a:gd name="connsiteY1" fmla="*/ 7597 h 5136220"/>
              <a:gd name="connsiteX2" fmla="*/ 1285 w 2078863"/>
              <a:gd name="connsiteY2" fmla="*/ 5136220 h 5136220"/>
              <a:gd name="connsiteX3" fmla="*/ 5987 w 2078863"/>
              <a:gd name="connsiteY3" fmla="*/ 0 h 5136220"/>
              <a:gd name="connsiteX0" fmla="*/ 5987 w 2086007"/>
              <a:gd name="connsiteY0" fmla="*/ 0 h 5136220"/>
              <a:gd name="connsiteX1" fmla="*/ 2086007 w 2086007"/>
              <a:gd name="connsiteY1" fmla="*/ 2835 h 5136220"/>
              <a:gd name="connsiteX2" fmla="*/ 1285 w 2086007"/>
              <a:gd name="connsiteY2" fmla="*/ 5136220 h 5136220"/>
              <a:gd name="connsiteX3" fmla="*/ 5987 w 2086007"/>
              <a:gd name="connsiteY3" fmla="*/ 0 h 51362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086007" h="5136220">
                <a:moveTo>
                  <a:pt x="5987" y="0"/>
                </a:moveTo>
                <a:lnTo>
                  <a:pt x="2086007" y="2835"/>
                </a:lnTo>
                <a:cubicBezTo>
                  <a:pt x="1539369" y="1333330"/>
                  <a:pt x="547923" y="3805725"/>
                  <a:pt x="1285" y="5136220"/>
                </a:cubicBezTo>
                <a:cubicBezTo>
                  <a:pt x="-4577" y="3790997"/>
                  <a:pt x="11849" y="1354016"/>
                  <a:pt x="5987" y="0"/>
                </a:cubicBezTo>
                <a:close/>
              </a:path>
            </a:pathLst>
          </a:custGeom>
          <a:gradFill>
            <a:gsLst>
              <a:gs pos="0">
                <a:srgbClr val="648C1A"/>
              </a:gs>
              <a:gs pos="100000">
                <a:schemeClr val="accent2"/>
              </a:gs>
            </a:gsLst>
            <a:lin ang="108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pic>
        <p:nvPicPr>
          <p:cNvPr id="10" name="Picture 13" descr="Mission_Statement_RGB"/>
          <p:cNvPicPr>
            <a:picLocks noChangeAspect="1" noChangeArrowheads="1"/>
          </p:cNvPicPr>
          <p:nvPr userDrawn="1"/>
        </p:nvPicPr>
        <p:blipFill>
          <a:blip r:embed="rId2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71520" y="6418194"/>
            <a:ext cx="2726267" cy="123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3699185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3" r:id="rId1"/>
    <p:sldLayoutId id="2147483814" r:id="rId2"/>
    <p:sldLayoutId id="2147483815" r:id="rId3"/>
    <p:sldLayoutId id="2147483816" r:id="rId4"/>
    <p:sldLayoutId id="2147483817" r:id="rId5"/>
    <p:sldLayoutId id="2147483818" r:id="rId6"/>
    <p:sldLayoutId id="2147483819" r:id="rId7"/>
    <p:sldLayoutId id="2147483820" r:id="rId8"/>
    <p:sldLayoutId id="2147483821" r:id="rId9"/>
    <p:sldLayoutId id="2147483822" r:id="rId10"/>
    <p:sldLayoutId id="2147483823" r:id="rId11"/>
    <p:sldLayoutId id="2147483824" r:id="rId12"/>
    <p:sldLayoutId id="2147483825" r:id="rId13"/>
    <p:sldLayoutId id="2147483826" r:id="rId14"/>
    <p:sldLayoutId id="2147483827" r:id="rId15"/>
    <p:sldLayoutId id="2147483828" r:id="rId16"/>
    <p:sldLayoutId id="2147483829" r:id="rId17"/>
    <p:sldLayoutId id="2147483830" r:id="rId18"/>
  </p:sldLayoutIdLst>
  <p:hf sldNum="0" hdr="0" dt="0"/>
  <p:txStyles>
    <p:titleStyle>
      <a:lvl1pPr marL="0" indent="0" algn="l" rtl="0" eaLnBrk="1" fontAlgn="base" hangingPunct="1">
        <a:spcBef>
          <a:spcPct val="0"/>
        </a:spcBef>
        <a:spcAft>
          <a:spcPct val="0"/>
        </a:spcAft>
        <a:defRPr lang="en-US" sz="2200" b="0" kern="1200" cap="all" baseline="0" dirty="0">
          <a:solidFill>
            <a:schemeClr val="accent1"/>
          </a:solidFill>
          <a:effectLst/>
          <a:latin typeface="+mn-lt"/>
          <a:ea typeface="+mj-ea"/>
          <a:cs typeface="+mj-cs"/>
        </a:defRPr>
      </a:lvl1pPr>
      <a:lvl2pPr marL="455613" indent="-455613" algn="l" rtl="0" eaLnBrk="1" fontAlgn="base" hangingPunct="1">
        <a:spcBef>
          <a:spcPct val="0"/>
        </a:spcBef>
        <a:spcAft>
          <a:spcPct val="0"/>
        </a:spcAft>
        <a:defRPr sz="3200">
          <a:solidFill>
            <a:schemeClr val="bg1"/>
          </a:solidFill>
          <a:latin typeface="Arial Narrow" pitchFamily="34" charset="0"/>
        </a:defRPr>
      </a:lvl2pPr>
      <a:lvl3pPr marL="455613" indent="-455613" algn="l" rtl="0" eaLnBrk="1" fontAlgn="base" hangingPunct="1">
        <a:spcBef>
          <a:spcPct val="0"/>
        </a:spcBef>
        <a:spcAft>
          <a:spcPct val="0"/>
        </a:spcAft>
        <a:defRPr sz="3200">
          <a:solidFill>
            <a:schemeClr val="bg1"/>
          </a:solidFill>
          <a:latin typeface="Arial Narrow" pitchFamily="34" charset="0"/>
        </a:defRPr>
      </a:lvl3pPr>
      <a:lvl4pPr marL="455613" indent="-455613" algn="l" rtl="0" eaLnBrk="1" fontAlgn="base" hangingPunct="1">
        <a:spcBef>
          <a:spcPct val="0"/>
        </a:spcBef>
        <a:spcAft>
          <a:spcPct val="0"/>
        </a:spcAft>
        <a:defRPr sz="3200">
          <a:solidFill>
            <a:schemeClr val="bg1"/>
          </a:solidFill>
          <a:latin typeface="Arial Narrow" pitchFamily="34" charset="0"/>
        </a:defRPr>
      </a:lvl4pPr>
      <a:lvl5pPr marL="455613" indent="-455613" algn="l" rtl="0" eaLnBrk="1" fontAlgn="base" hangingPunct="1">
        <a:spcBef>
          <a:spcPct val="0"/>
        </a:spcBef>
        <a:spcAft>
          <a:spcPct val="0"/>
        </a:spcAft>
        <a:defRPr sz="3200">
          <a:solidFill>
            <a:schemeClr val="bg1"/>
          </a:solidFill>
          <a:latin typeface="Arial Narrow" pitchFamily="34" charset="0"/>
        </a:defRPr>
      </a:lvl5pPr>
      <a:lvl6pPr marL="103505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Palatino Linotype" pitchFamily="18" charset="0"/>
        </a:defRPr>
      </a:lvl6pPr>
      <a:lvl7pPr marL="149225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Palatino Linotype" pitchFamily="18" charset="0"/>
        </a:defRPr>
      </a:lvl7pPr>
      <a:lvl8pPr marL="194945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Palatino Linotype" pitchFamily="18" charset="0"/>
        </a:defRPr>
      </a:lvl8pPr>
      <a:lvl9pPr marL="240665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Palatino Linotype" pitchFamily="18" charset="0"/>
        </a:defRPr>
      </a:lvl9pPr>
    </p:titleStyle>
    <p:bodyStyle>
      <a:lvl1pPr marL="230188" indent="-230188" algn="l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SzPct val="100000"/>
        <a:buFont typeface="Arial" panose="020B0604020202020204" pitchFamily="34" charset="0"/>
        <a:buChar char="•"/>
        <a:defRPr lang="en-US" sz="1800" kern="1200" dirty="0">
          <a:solidFill>
            <a:schemeClr val="accent1"/>
          </a:solidFill>
          <a:latin typeface="+mj-lt"/>
          <a:ea typeface="+mn-ea"/>
          <a:cs typeface="+mn-cs"/>
        </a:defRPr>
      </a:lvl1pPr>
      <a:lvl2pPr marL="460375" indent="-223838" algn="l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SzPct val="100000"/>
        <a:buFont typeface="Arial" panose="020B0604020202020204" pitchFamily="34" charset="0"/>
        <a:buChar char="-"/>
        <a:defRPr lang="en-US" sz="1600" kern="1200" dirty="0">
          <a:solidFill>
            <a:schemeClr val="accent1"/>
          </a:solidFill>
          <a:latin typeface="+mj-lt"/>
          <a:ea typeface="+mn-ea"/>
          <a:cs typeface="+mn-cs"/>
        </a:defRPr>
      </a:lvl2pPr>
      <a:lvl3pPr marL="1027113" indent="-344488" algn="l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SzPct val="100000"/>
        <a:buFont typeface="Arial" panose="020B0604020202020204" pitchFamily="34" charset="0"/>
        <a:buChar char="•"/>
        <a:defRPr lang="en-US" sz="1600" kern="1200" dirty="0">
          <a:solidFill>
            <a:schemeClr val="accent1"/>
          </a:solidFill>
          <a:latin typeface="+mj-lt"/>
          <a:ea typeface="+mn-ea"/>
          <a:cs typeface="+mn-cs"/>
        </a:defRPr>
      </a:lvl3pPr>
      <a:lvl4pPr marL="1373188" indent="-344488" algn="l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SzPct val="100000"/>
        <a:buFont typeface="Palatino Linotype" pitchFamily="18" charset="0"/>
        <a:buChar char="◦"/>
        <a:defRPr lang="en-US" sz="1600" kern="1200" dirty="0">
          <a:solidFill>
            <a:schemeClr val="accent1"/>
          </a:solidFill>
          <a:latin typeface="+mj-lt"/>
          <a:ea typeface="+mn-ea"/>
          <a:cs typeface="+mn-cs"/>
        </a:defRPr>
      </a:lvl4pPr>
      <a:lvl5pPr marL="1717675" indent="-342900" algn="l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SzPct val="100000"/>
        <a:buFont typeface="Palatino Linotype" pitchFamily="18" charset="0"/>
        <a:buChar char="▫"/>
        <a:defRPr lang="en-US" sz="1600" kern="1200" dirty="0">
          <a:solidFill>
            <a:schemeClr val="accent1"/>
          </a:solidFill>
          <a:latin typeface="+mj-lt"/>
          <a:ea typeface="+mn-ea"/>
          <a:cs typeface="+mn-cs"/>
        </a:defRPr>
      </a:lvl5pPr>
      <a:lvl6pPr marL="2174875" indent="-342900" algn="l" rtl="0" eaLnBrk="1" fontAlgn="base" hangingPunct="1">
        <a:spcBef>
          <a:spcPct val="20000"/>
        </a:spcBef>
        <a:spcAft>
          <a:spcPct val="0"/>
        </a:spcAft>
        <a:buSzPct val="125000"/>
        <a:buFont typeface="Palatino Linotype" pitchFamily="18" charset="0"/>
        <a:buChar char="▫"/>
        <a:defRPr>
          <a:solidFill>
            <a:schemeClr val="tx1"/>
          </a:solidFill>
          <a:latin typeface="+mn-lt"/>
        </a:defRPr>
      </a:lvl6pPr>
      <a:lvl7pPr marL="2632075" indent="-342900" algn="l" rtl="0" eaLnBrk="1" fontAlgn="base" hangingPunct="1">
        <a:spcBef>
          <a:spcPct val="20000"/>
        </a:spcBef>
        <a:spcAft>
          <a:spcPct val="0"/>
        </a:spcAft>
        <a:buSzPct val="125000"/>
        <a:buFont typeface="Palatino Linotype" pitchFamily="18" charset="0"/>
        <a:buChar char="▫"/>
        <a:defRPr>
          <a:solidFill>
            <a:schemeClr val="tx1"/>
          </a:solidFill>
          <a:latin typeface="+mn-lt"/>
        </a:defRPr>
      </a:lvl7pPr>
      <a:lvl8pPr marL="3089275" indent="-342900" algn="l" rtl="0" eaLnBrk="1" fontAlgn="base" hangingPunct="1">
        <a:spcBef>
          <a:spcPct val="20000"/>
        </a:spcBef>
        <a:spcAft>
          <a:spcPct val="0"/>
        </a:spcAft>
        <a:buSzPct val="125000"/>
        <a:buFont typeface="Palatino Linotype" pitchFamily="18" charset="0"/>
        <a:buChar char="▫"/>
        <a:defRPr>
          <a:solidFill>
            <a:schemeClr val="tx1"/>
          </a:solidFill>
          <a:latin typeface="+mn-lt"/>
        </a:defRPr>
      </a:lvl8pPr>
      <a:lvl9pPr marL="3546475" indent="-342900" algn="l" rtl="0" eaLnBrk="1" fontAlgn="base" hangingPunct="1">
        <a:spcBef>
          <a:spcPct val="20000"/>
        </a:spcBef>
        <a:spcAft>
          <a:spcPct val="0"/>
        </a:spcAft>
        <a:buSzPct val="125000"/>
        <a:buFont typeface="Palatino Linotype" pitchFamily="18" charset="0"/>
        <a:buChar char="▫"/>
        <a:defRPr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E7E7E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925D14C2-49B5-48D3-AE6E-E2E073EFBAB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3"/>
            </p:custDataLst>
            <p:extLst>
              <p:ext uri="{D42A27DB-BD31-4B8C-83A1-F6EECF244321}">
                <p14:modId xmlns:p14="http://schemas.microsoft.com/office/powerpoint/2010/main" val="22059516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05" name="think-cell Slide" r:id="rId35" imgW="347" imgH="348" progId="TCLayout.ActiveDocument.1">
                  <p:embed/>
                </p:oleObj>
              </mc:Choice>
              <mc:Fallback>
                <p:oleObj name="think-cell Slide" r:id="rId35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6857B364-3D54-43FA-858E-BA917987A868}"/>
              </a:ext>
            </a:extLst>
          </p:cNvPr>
          <p:cNvSpPr/>
          <p:nvPr userDrawn="1">
            <p:custDataLst>
              <p:tags r:id="rId3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800" b="0" i="0" baseline="0" dirty="0">
              <a:latin typeface="Gill Sans MT" panose="020B0502020104020203" pitchFamily="34" charset="0"/>
              <a:ea typeface="+mj-ea"/>
              <a:sym typeface="Gill Sans MT" panose="020B0502020104020203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914805" y="457200"/>
            <a:ext cx="10363200" cy="914400"/>
          </a:xfrm>
          <a:prstGeom prst="rect">
            <a:avLst/>
          </a:prstGeom>
        </p:spPr>
        <p:txBody>
          <a:bodyPr vert="horz" lIns="91440" tIns="45720" rIns="91440" bIns="45720" rtlCol="0" anchor="b" anchorCtr="0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14400" y="1600200"/>
            <a:ext cx="103632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203200" y="6530079"/>
            <a:ext cx="2844800" cy="184666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l">
              <a:defRPr sz="600" b="0" i="0">
                <a:solidFill>
                  <a:srgbClr val="635C5B"/>
                </a:solidFill>
                <a:latin typeface="Gill Sans MT"/>
                <a:cs typeface="Gill Sans MT"/>
              </a:defRPr>
            </a:lvl1pPr>
          </a:lstStyle>
          <a:p>
            <a:fld id="{7C017F59-29DA-6F48-B92A-5AD511CC2D63}" type="datetime1">
              <a:rPr lang="en-US" smtClean="0"/>
              <a:pPr/>
              <a:t>7/3/20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165600" y="6530079"/>
            <a:ext cx="3860800" cy="184666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ctr">
              <a:defRPr sz="600" b="0" i="0">
                <a:solidFill>
                  <a:srgbClr val="635C5B"/>
                </a:solidFill>
                <a:latin typeface="Gill Sans MT"/>
                <a:cs typeface="Gill Sans MT"/>
              </a:defRPr>
            </a:lvl1pPr>
          </a:lstStyle>
          <a:p>
            <a:r>
              <a:rPr lang="en-US" dirty="0"/>
              <a:t>FOOTER GOES HER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144000" y="6530079"/>
            <a:ext cx="2844800" cy="184666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r">
              <a:defRPr sz="600" b="0" i="0">
                <a:solidFill>
                  <a:srgbClr val="635C5B"/>
                </a:solidFill>
                <a:latin typeface="Gill Sans MT"/>
                <a:cs typeface="Gill Sans MT"/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Frame 6"/>
          <p:cNvSpPr/>
          <p:nvPr/>
        </p:nvSpPr>
        <p:spPr>
          <a:xfrm>
            <a:off x="0" y="0"/>
            <a:ext cx="12192000" cy="6858000"/>
          </a:xfrm>
          <a:prstGeom prst="frame">
            <a:avLst>
              <a:gd name="adj1" fmla="val 2222"/>
            </a:avLst>
          </a:prstGeom>
          <a:solidFill>
            <a:srgbClr val="FFFFF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b="0" i="0" dirty="0">
              <a:solidFill>
                <a:srgbClr val="FFFFFF"/>
              </a:solidFill>
              <a:latin typeface="Gill Sans MT"/>
              <a:cs typeface="Gill Sans MT"/>
            </a:endParaRPr>
          </a:p>
        </p:txBody>
      </p:sp>
    </p:spTree>
    <p:extLst>
      <p:ext uri="{BB962C8B-B14F-4D97-AF65-F5344CB8AC3E}">
        <p14:creationId xmlns:p14="http://schemas.microsoft.com/office/powerpoint/2010/main" val="24114078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97" r:id="rId1"/>
    <p:sldLayoutId id="2147483898" r:id="rId2"/>
    <p:sldLayoutId id="2147483899" r:id="rId3"/>
    <p:sldLayoutId id="2147483900" r:id="rId4"/>
    <p:sldLayoutId id="2147483901" r:id="rId5"/>
    <p:sldLayoutId id="2147483902" r:id="rId6"/>
    <p:sldLayoutId id="2147483903" r:id="rId7"/>
    <p:sldLayoutId id="2147483904" r:id="rId8"/>
    <p:sldLayoutId id="2147483905" r:id="rId9"/>
    <p:sldLayoutId id="2147483906" r:id="rId10"/>
    <p:sldLayoutId id="2147483907" r:id="rId11"/>
    <p:sldLayoutId id="2147483908" r:id="rId12"/>
    <p:sldLayoutId id="2147483909" r:id="rId13"/>
    <p:sldLayoutId id="2147483910" r:id="rId14"/>
    <p:sldLayoutId id="2147483911" r:id="rId15"/>
    <p:sldLayoutId id="2147483912" r:id="rId16"/>
    <p:sldLayoutId id="2147483913" r:id="rId17"/>
    <p:sldLayoutId id="2147483914" r:id="rId18"/>
    <p:sldLayoutId id="2147483915" r:id="rId19"/>
    <p:sldLayoutId id="2147483916" r:id="rId20"/>
    <p:sldLayoutId id="2147483917" r:id="rId21"/>
    <p:sldLayoutId id="2147483918" r:id="rId22"/>
    <p:sldLayoutId id="2147483919" r:id="rId23"/>
    <p:sldLayoutId id="2147483920" r:id="rId24"/>
    <p:sldLayoutId id="2147483921" r:id="rId25"/>
    <p:sldLayoutId id="2147483922" r:id="rId26"/>
    <p:sldLayoutId id="2147483923" r:id="rId27"/>
    <p:sldLayoutId id="2147483924" r:id="rId28"/>
    <p:sldLayoutId id="2147483925" r:id="rId29"/>
    <p:sldLayoutId id="2147483926" r:id="rId30"/>
  </p:sldLayoutIdLst>
  <p:hf hdr="0"/>
  <p:txStyles>
    <p:titleStyle>
      <a:lvl1pPr algn="l" defTabSz="457200" rtl="0" eaLnBrk="1" latinLnBrk="0" hangingPunct="1">
        <a:spcBef>
          <a:spcPct val="0"/>
        </a:spcBef>
        <a:buNone/>
        <a:defRPr sz="2800" b="0" i="0" kern="1200">
          <a:solidFill>
            <a:srgbClr val="BA0C2F"/>
          </a:solidFill>
          <a:latin typeface="Gill Sans MT"/>
          <a:ea typeface="+mj-ea"/>
          <a:cs typeface="Gill Sans MT"/>
        </a:defRPr>
      </a:lvl1pPr>
    </p:titleStyle>
    <p:bodyStyle>
      <a:lvl1pPr marL="230188" indent="-230188" algn="l" defTabSz="457200" rtl="0" eaLnBrk="1" latinLnBrk="0" hangingPunct="1">
        <a:spcBef>
          <a:spcPts val="0"/>
        </a:spcBef>
        <a:spcAft>
          <a:spcPts val="1200"/>
        </a:spcAft>
        <a:buFont typeface="Arial"/>
        <a:buChar char="•"/>
        <a:defRPr sz="2000" b="0" i="0" kern="1200">
          <a:solidFill>
            <a:srgbClr val="635C5B"/>
          </a:solidFill>
          <a:latin typeface="Gill Sans MT"/>
          <a:ea typeface="+mn-ea"/>
          <a:cs typeface="Gill Sans MT"/>
        </a:defRPr>
      </a:lvl1pPr>
      <a:lvl2pPr marL="684213" indent="-230188" algn="l" defTabSz="457200" rtl="0" eaLnBrk="1" latinLnBrk="0" hangingPunct="1">
        <a:spcBef>
          <a:spcPts val="0"/>
        </a:spcBef>
        <a:spcAft>
          <a:spcPts val="1200"/>
        </a:spcAft>
        <a:buFont typeface="Arial"/>
        <a:buChar char="–"/>
        <a:defRPr sz="2000" b="0" i="0" kern="1200">
          <a:solidFill>
            <a:srgbClr val="635C5B"/>
          </a:solidFill>
          <a:latin typeface="Gill Sans MT"/>
          <a:ea typeface="+mn-ea"/>
          <a:cs typeface="Gill Sans MT"/>
        </a:defRPr>
      </a:lvl2pPr>
      <a:lvl3pPr marL="914400" indent="-230188" algn="l" defTabSz="457200" rtl="0" eaLnBrk="1" latinLnBrk="0" hangingPunct="1">
        <a:spcBef>
          <a:spcPct val="20000"/>
        </a:spcBef>
        <a:buFont typeface="Arial"/>
        <a:buChar char="•"/>
        <a:defRPr sz="1800" b="0" i="0" kern="1200">
          <a:solidFill>
            <a:srgbClr val="6C6463"/>
          </a:solidFill>
          <a:latin typeface="Gill Sans MT"/>
          <a:ea typeface="+mn-ea"/>
          <a:cs typeface="Gill Sans MT"/>
        </a:defRPr>
      </a:lvl3pPr>
      <a:lvl4pPr marL="1146175" indent="-231775" algn="l" defTabSz="457200" rtl="0" eaLnBrk="1" latinLnBrk="0" hangingPunct="1">
        <a:spcBef>
          <a:spcPct val="20000"/>
        </a:spcBef>
        <a:buFont typeface="Arial"/>
        <a:buChar char="–"/>
        <a:defRPr sz="1600" b="0" i="0" kern="1200">
          <a:solidFill>
            <a:srgbClr val="6C6463"/>
          </a:solidFill>
          <a:latin typeface="Gill Sans MT"/>
          <a:ea typeface="+mn-ea"/>
          <a:cs typeface="Gill Sans MT"/>
        </a:defRPr>
      </a:lvl4pPr>
      <a:lvl5pPr marL="1255713" indent="-230188" algn="l" defTabSz="457200" rtl="0" eaLnBrk="1" latinLnBrk="0" hangingPunct="1">
        <a:spcBef>
          <a:spcPct val="20000"/>
        </a:spcBef>
        <a:buFont typeface="Arial"/>
        <a:buChar char="»"/>
        <a:defRPr sz="1400" b="0" i="0" kern="1200">
          <a:solidFill>
            <a:srgbClr val="6C6463"/>
          </a:solidFill>
          <a:latin typeface="Gill Sans MT"/>
          <a:ea typeface="+mn-ea"/>
          <a:cs typeface="Gill Sans MT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4009659489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30" name="think-cell Slide" r:id="rId21" imgW="530" imgH="531" progId="TCLayout.ActiveDocument.1">
                  <p:embed/>
                </p:oleObj>
              </mc:Choice>
              <mc:Fallback>
                <p:oleObj name="think-cell Slide" r:id="rId21" imgW="530" imgH="531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9662CE9C-144C-4C92-BDF3-813874F0406A}"/>
              </a:ext>
            </a:extLst>
          </p:cNvPr>
          <p:cNvSpPr/>
          <p:nvPr userDrawn="1">
            <p:custDataLst>
              <p:tags r:id="rId18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>
              <a:lnSpc>
                <a:spcPct val="100000"/>
              </a:lnSpc>
            </a:pPr>
            <a:endParaRPr lang="en-US" sz="2200" b="0" i="0" baseline="0" dirty="0">
              <a:solidFill>
                <a:schemeClr val="tx1"/>
              </a:solidFill>
              <a:latin typeface="Arial" panose="020B0604020202020204" pitchFamily="34" charset="0"/>
              <a:ea typeface="Meiryo" panose="020B0604030504040204" pitchFamily="34" charset="-128"/>
              <a:cs typeface="+mj-cs"/>
              <a:sym typeface="Arial" panose="020B0604020202020204" pitchFamily="34" charset="0"/>
            </a:endParaRPr>
          </a:p>
        </p:txBody>
      </p:sp>
      <p:sp>
        <p:nvSpPr>
          <p:cNvPr id="15" name="Rectangle 14"/>
          <p:cNvSpPr/>
          <p:nvPr userDrawn="1"/>
        </p:nvSpPr>
        <p:spPr bwMode="auto">
          <a:xfrm>
            <a:off x="0" y="0"/>
            <a:ext cx="12192000" cy="1074396"/>
          </a:xfrm>
          <a:prstGeom prst="rect">
            <a:avLst/>
          </a:prstGeom>
          <a:solidFill>
            <a:schemeClr val="tx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555759"/>
              </a:solidFill>
              <a:effectLst/>
              <a:uLnTx/>
              <a:uFillTx/>
              <a:latin typeface="Palatino Linotype" pitchFamily="18" charset="0"/>
            </a:endParaRPr>
          </a:p>
        </p:txBody>
      </p:sp>
      <p:sp>
        <p:nvSpPr>
          <p:cNvPr id="17" name="Rectangle 16"/>
          <p:cNvSpPr/>
          <p:nvPr userDrawn="1"/>
        </p:nvSpPr>
        <p:spPr bwMode="auto">
          <a:xfrm>
            <a:off x="0" y="1074396"/>
            <a:ext cx="12192000" cy="151354"/>
          </a:xfrm>
          <a:prstGeom prst="rect">
            <a:avLst/>
          </a:prstGeom>
          <a:solidFill>
            <a:schemeClr val="accent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555759"/>
              </a:solidFill>
              <a:effectLst/>
              <a:uLnTx/>
              <a:uFillTx/>
              <a:latin typeface="Palatino Linotype" pitchFamily="18" charset="0"/>
            </a:endParaRPr>
          </a:p>
        </p:txBody>
      </p:sp>
      <p:sp>
        <p:nvSpPr>
          <p:cNvPr id="1026" name="Title"/>
          <p:cNvSpPr>
            <a:spLocks noGrp="1" noChangeArrowheads="1"/>
          </p:cNvSpPr>
          <p:nvPr>
            <p:ph type="title"/>
            <p:custDataLst>
              <p:tags r:id="rId19"/>
            </p:custDataLst>
          </p:nvPr>
        </p:nvSpPr>
        <p:spPr bwMode="gray">
          <a:xfrm>
            <a:off x="287453" y="1"/>
            <a:ext cx="11625600" cy="1011600"/>
          </a:xfrm>
          <a:prstGeom prst="rect">
            <a:avLst/>
          </a:prstGeom>
        </p:spPr>
        <p:txBody>
          <a:bodyPr anchor="b"/>
          <a:lstStyle/>
          <a:p>
            <a:pPr lvl="0"/>
            <a:r>
              <a:rPr lang="en-US" altLang="ja-JP"/>
              <a:t>Click to edit Master title style</a:t>
            </a:r>
            <a:endParaRPr lang="en-GB"/>
          </a:p>
        </p:txBody>
      </p:sp>
      <p:sp>
        <p:nvSpPr>
          <p:cNvPr id="1027" name="BodyText"/>
          <p:cNvSpPr>
            <a:spLocks noGrp="1" noChangeArrowheads="1"/>
          </p:cNvSpPr>
          <p:nvPr>
            <p:ph type="body" idx="1"/>
            <p:custDataLst>
              <p:tags r:id="rId20"/>
            </p:custDataLst>
          </p:nvPr>
        </p:nvSpPr>
        <p:spPr bwMode="gray">
          <a:xfrm>
            <a:off x="287453" y="1341114"/>
            <a:ext cx="11625600" cy="48280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ja-JP"/>
              <a:t>Click to edit Master text styles</a:t>
            </a:r>
          </a:p>
          <a:p>
            <a:pPr lvl="1"/>
            <a:r>
              <a:rPr lang="en-US" altLang="ja-JP"/>
              <a:t>Second level</a:t>
            </a:r>
          </a:p>
          <a:p>
            <a:pPr lvl="2"/>
            <a:r>
              <a:rPr lang="en-US" altLang="ja-JP"/>
              <a:t>Third level</a:t>
            </a:r>
          </a:p>
          <a:p>
            <a:pPr lvl="3"/>
            <a:r>
              <a:rPr lang="en-US" altLang="ja-JP"/>
              <a:t>Fourth level</a:t>
            </a:r>
          </a:p>
          <a:p>
            <a:pPr lvl="4"/>
            <a:r>
              <a:rPr lang="en-US" altLang="ja-JP"/>
              <a:t>Fifth level</a:t>
            </a:r>
            <a:endParaRPr lang="en-GB"/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304802" y="6250077"/>
            <a:ext cx="11592985" cy="0"/>
          </a:xfrm>
          <a:prstGeom prst="line">
            <a:avLst/>
          </a:prstGeom>
          <a:ln w="9525">
            <a:solidFill>
              <a:srgbClr val="555759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18"/>
          <p:cNvSpPr txBox="1">
            <a:spLocks/>
          </p:cNvSpPr>
          <p:nvPr userDrawn="1"/>
        </p:nvSpPr>
        <p:spPr>
          <a:xfrm>
            <a:off x="475204" y="6370117"/>
            <a:ext cx="7770501" cy="205345"/>
          </a:xfrm>
          <a:prstGeom prst="rect">
            <a:avLst/>
          </a:prstGeom>
        </p:spPr>
        <p:txBody>
          <a:bodyPr vert="horz"/>
          <a:lstStyle>
            <a:lvl1pPr marL="0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 baseline="0">
                <a:solidFill>
                  <a:srgbClr val="898C8F"/>
                </a:solidFill>
                <a:latin typeface="+mj-lt"/>
                <a:ea typeface="+mn-ea"/>
                <a:cs typeface="+mn-cs"/>
              </a:defRPr>
            </a:lvl1pPr>
            <a:lvl2pPr marL="457178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2pPr>
            <a:lvl3pPr marL="914354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3pPr>
            <a:lvl4pPr marL="1371532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4pPr>
            <a:lvl5pPr marL="1828709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5pPr>
            <a:lvl6pPr marL="21748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6pPr>
            <a:lvl7pPr marL="26320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7pPr>
            <a:lvl8pPr marL="30892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8pPr>
            <a:lvl9pPr marL="35464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 sz="900" dirty="0">
                <a:solidFill>
                  <a:schemeClr val="tx2">
                    <a:lumMod val="60000"/>
                    <a:lumOff val="40000"/>
                  </a:schemeClr>
                </a:solidFill>
              </a:rPr>
              <a:t>/ </a:t>
            </a:r>
            <a:r>
              <a:rPr lang="en-US" sz="900" kern="1200" cap="all" normalizeH="0" baseline="0" dirty="0">
                <a:solidFill>
                  <a:schemeClr val="tx2">
                    <a:lumMod val="60000"/>
                    <a:lumOff val="40000"/>
                  </a:schemeClr>
                </a:solidFill>
                <a:latin typeface="+mj-lt"/>
                <a:ea typeface="+mn-ea"/>
                <a:cs typeface="+mn-cs"/>
              </a:rPr>
              <a:t>©2016 </a:t>
            </a:r>
            <a:r>
              <a:rPr lang="en-US" sz="900" dirty="0">
                <a:solidFill>
                  <a:schemeClr val="tx2">
                    <a:lumMod val="60000"/>
                    <a:lumOff val="40000"/>
                  </a:schemeClr>
                </a:solidFill>
              </a:rPr>
              <a:t>Navigant – A </a:t>
            </a:r>
            <a:r>
              <a:rPr lang="en-US" sz="900" dirty="0" err="1">
                <a:solidFill>
                  <a:schemeClr val="tx2">
                    <a:lumMod val="60000"/>
                    <a:lumOff val="40000"/>
                  </a:schemeClr>
                </a:solidFill>
              </a:rPr>
              <a:t>Guidehouse</a:t>
            </a:r>
            <a:r>
              <a:rPr lang="en-US" sz="900" dirty="0">
                <a:solidFill>
                  <a:schemeClr val="tx2">
                    <a:lumMod val="60000"/>
                    <a:lumOff val="40000"/>
                  </a:schemeClr>
                </a:solidFill>
              </a:rPr>
              <a:t> Company Consulting,</a:t>
            </a:r>
            <a:r>
              <a:rPr lang="en-US" sz="900" baseline="0" dirty="0">
                <a:solidFill>
                  <a:schemeClr val="tx2">
                    <a:lumMod val="60000"/>
                    <a:lumOff val="40000"/>
                  </a:schemeClr>
                </a:solidFill>
              </a:rPr>
              <a:t> Inc. All rights Reserved</a:t>
            </a:r>
            <a:endParaRPr lang="en-US" sz="900" dirty="0">
              <a:solidFill>
                <a:schemeClr val="tx2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13" name="Text Placeholder 18"/>
          <p:cNvSpPr txBox="1">
            <a:spLocks/>
          </p:cNvSpPr>
          <p:nvPr userDrawn="1"/>
        </p:nvSpPr>
        <p:spPr>
          <a:xfrm>
            <a:off x="182020" y="6365442"/>
            <a:ext cx="824304" cy="210020"/>
          </a:xfrm>
          <a:prstGeom prst="rect">
            <a:avLst/>
          </a:prstGeom>
        </p:spPr>
        <p:txBody>
          <a:bodyPr vert="horz"/>
          <a:lstStyle>
            <a:lvl1pPr marL="0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 baseline="0">
                <a:solidFill>
                  <a:srgbClr val="898C8F"/>
                </a:solidFill>
                <a:latin typeface="+mj-lt"/>
                <a:ea typeface="+mn-ea"/>
                <a:cs typeface="+mn-cs"/>
              </a:defRPr>
            </a:lvl1pPr>
            <a:lvl2pPr marL="457178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2pPr>
            <a:lvl3pPr marL="914354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3pPr>
            <a:lvl4pPr marL="1371532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4pPr>
            <a:lvl5pPr marL="1828709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5pPr>
            <a:lvl6pPr marL="21748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6pPr>
            <a:lvl7pPr marL="26320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7pPr>
            <a:lvl8pPr marL="30892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8pPr>
            <a:lvl9pPr marL="35464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l"/>
            <a:fld id="{C0D4A90D-707C-4CFA-8F87-17CF45DE2B45}" type="slidenum">
              <a:rPr lang="en-US" sz="900" smtClean="0">
                <a:solidFill>
                  <a:srgbClr val="95D600"/>
                </a:solidFill>
              </a:rPr>
              <a:pPr algn="l"/>
              <a:t>‹#›</a:t>
            </a:fld>
            <a:endParaRPr lang="en-US" sz="900"/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2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07280" y="6396705"/>
            <a:ext cx="1303209" cy="1686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031776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28" r:id="rId1"/>
    <p:sldLayoutId id="2147483929" r:id="rId2"/>
    <p:sldLayoutId id="2147483930" r:id="rId3"/>
    <p:sldLayoutId id="2147483931" r:id="rId4"/>
    <p:sldLayoutId id="2147483932" r:id="rId5"/>
    <p:sldLayoutId id="2147483933" r:id="rId6"/>
    <p:sldLayoutId id="2147483934" r:id="rId7"/>
    <p:sldLayoutId id="2147483935" r:id="rId8"/>
    <p:sldLayoutId id="2147483936" r:id="rId9"/>
    <p:sldLayoutId id="2147483937" r:id="rId10"/>
    <p:sldLayoutId id="2147483938" r:id="rId11"/>
    <p:sldLayoutId id="2147483939" r:id="rId12"/>
    <p:sldLayoutId id="2147483940" r:id="rId13"/>
    <p:sldLayoutId id="2147483941" r:id="rId14"/>
  </p:sldLayoutIdLst>
  <p:hf sldNum="0" hdr="0" ftr="0"/>
  <p:txStyles>
    <p:titleStyle>
      <a:lvl1pPr marL="0" indent="0" algn="l" rtl="0" eaLnBrk="1" fontAlgn="base" hangingPunct="1">
        <a:lnSpc>
          <a:spcPct val="88000"/>
        </a:lnSpc>
        <a:spcBef>
          <a:spcPct val="0"/>
        </a:spcBef>
        <a:spcAft>
          <a:spcPct val="0"/>
        </a:spcAft>
        <a:defRPr lang="en-GB" altLang="ja-JP" sz="2200" b="0" kern="1200" cap="all" baseline="0" dirty="0" smtClean="0">
          <a:solidFill>
            <a:schemeClr val="bg2"/>
          </a:solidFill>
          <a:effectLst/>
          <a:latin typeface="+mn-lt"/>
          <a:ea typeface="+mj-ea"/>
          <a:cs typeface="+mj-cs"/>
          <a:sym typeface="+mj-lt"/>
        </a:defRPr>
      </a:lvl1pPr>
      <a:lvl2pPr algn="l" rtl="0" eaLnBrk="1" fontAlgn="base" hangingPunct="1">
        <a:lnSpc>
          <a:spcPct val="88000"/>
        </a:lnSpc>
        <a:spcBef>
          <a:spcPct val="0"/>
        </a:spcBef>
        <a:spcAft>
          <a:spcPct val="0"/>
        </a:spcAft>
        <a:defRPr>
          <a:solidFill>
            <a:srgbClr val="002C77"/>
          </a:solidFill>
          <a:latin typeface="Arial" charset="0"/>
          <a:cs typeface="Arial" charset="0"/>
        </a:defRPr>
      </a:lvl2pPr>
      <a:lvl3pPr algn="l" rtl="0" eaLnBrk="1" fontAlgn="base" hangingPunct="1">
        <a:lnSpc>
          <a:spcPct val="88000"/>
        </a:lnSpc>
        <a:spcBef>
          <a:spcPct val="0"/>
        </a:spcBef>
        <a:spcAft>
          <a:spcPct val="0"/>
        </a:spcAft>
        <a:defRPr>
          <a:solidFill>
            <a:srgbClr val="002C77"/>
          </a:solidFill>
          <a:latin typeface="Arial" charset="0"/>
          <a:cs typeface="Arial" charset="0"/>
        </a:defRPr>
      </a:lvl3pPr>
      <a:lvl4pPr algn="l" rtl="0" eaLnBrk="1" fontAlgn="base" hangingPunct="1">
        <a:lnSpc>
          <a:spcPct val="88000"/>
        </a:lnSpc>
        <a:spcBef>
          <a:spcPct val="0"/>
        </a:spcBef>
        <a:spcAft>
          <a:spcPct val="0"/>
        </a:spcAft>
        <a:defRPr>
          <a:solidFill>
            <a:srgbClr val="002C77"/>
          </a:solidFill>
          <a:latin typeface="Arial" charset="0"/>
          <a:cs typeface="Arial" charset="0"/>
        </a:defRPr>
      </a:lvl4pPr>
      <a:lvl5pPr algn="l" rtl="0" eaLnBrk="1" fontAlgn="base" hangingPunct="1">
        <a:lnSpc>
          <a:spcPct val="88000"/>
        </a:lnSpc>
        <a:spcBef>
          <a:spcPct val="0"/>
        </a:spcBef>
        <a:spcAft>
          <a:spcPct val="0"/>
        </a:spcAft>
        <a:defRPr>
          <a:solidFill>
            <a:srgbClr val="002C77"/>
          </a:solidFill>
          <a:latin typeface="Arial" charset="0"/>
          <a:cs typeface="Arial" charset="0"/>
        </a:defRPr>
      </a:lvl5pPr>
      <a:lvl6pPr marL="457200" algn="l" rtl="0" eaLnBrk="1" fontAlgn="base" hangingPunct="1">
        <a:lnSpc>
          <a:spcPct val="88000"/>
        </a:lnSpc>
        <a:spcBef>
          <a:spcPct val="0"/>
        </a:spcBef>
        <a:spcAft>
          <a:spcPct val="0"/>
        </a:spcAft>
        <a:defRPr>
          <a:solidFill>
            <a:srgbClr val="002C77"/>
          </a:solidFill>
          <a:latin typeface="Arial" charset="0"/>
          <a:cs typeface="Arial" charset="0"/>
        </a:defRPr>
      </a:lvl6pPr>
      <a:lvl7pPr marL="914401" algn="l" rtl="0" eaLnBrk="1" fontAlgn="base" hangingPunct="1">
        <a:lnSpc>
          <a:spcPct val="88000"/>
        </a:lnSpc>
        <a:spcBef>
          <a:spcPct val="0"/>
        </a:spcBef>
        <a:spcAft>
          <a:spcPct val="0"/>
        </a:spcAft>
        <a:defRPr>
          <a:solidFill>
            <a:srgbClr val="002C77"/>
          </a:solidFill>
          <a:latin typeface="Arial" charset="0"/>
          <a:cs typeface="Arial" charset="0"/>
        </a:defRPr>
      </a:lvl7pPr>
      <a:lvl8pPr marL="1371601" algn="l" rtl="0" eaLnBrk="1" fontAlgn="base" hangingPunct="1">
        <a:lnSpc>
          <a:spcPct val="88000"/>
        </a:lnSpc>
        <a:spcBef>
          <a:spcPct val="0"/>
        </a:spcBef>
        <a:spcAft>
          <a:spcPct val="0"/>
        </a:spcAft>
        <a:defRPr>
          <a:solidFill>
            <a:srgbClr val="002C77"/>
          </a:solidFill>
          <a:latin typeface="Arial" charset="0"/>
          <a:cs typeface="Arial" charset="0"/>
        </a:defRPr>
      </a:lvl8pPr>
      <a:lvl9pPr marL="1828800" algn="l" rtl="0" eaLnBrk="1" fontAlgn="base" hangingPunct="1">
        <a:lnSpc>
          <a:spcPct val="88000"/>
        </a:lnSpc>
        <a:spcBef>
          <a:spcPct val="0"/>
        </a:spcBef>
        <a:spcAft>
          <a:spcPct val="0"/>
        </a:spcAft>
        <a:defRPr>
          <a:solidFill>
            <a:srgbClr val="002C77"/>
          </a:solidFill>
          <a:latin typeface="Arial" charset="0"/>
          <a:cs typeface="Arial" charset="0"/>
        </a:defRPr>
      </a:lvl9pPr>
    </p:titleStyle>
    <p:bodyStyle>
      <a:lvl1pPr marL="180000" indent="-180000" algn="l" rtl="0" eaLnBrk="1" fontAlgn="base" hangingPunct="1">
        <a:spcBef>
          <a:spcPts val="700"/>
        </a:spcBef>
        <a:spcAft>
          <a:spcPts val="0"/>
        </a:spcAft>
        <a:buChar char="•"/>
        <a:defRPr sz="1400">
          <a:solidFill>
            <a:schemeClr val="tx1"/>
          </a:solidFill>
          <a:latin typeface="+mn-lt"/>
          <a:ea typeface="+mn-ea"/>
          <a:cs typeface="+mn-cs"/>
          <a:sym typeface="+mn-lt"/>
        </a:defRPr>
      </a:lvl1pPr>
      <a:lvl2pPr marL="360000" indent="-180000" algn="l" rtl="0" eaLnBrk="1" fontAlgn="base" hangingPunct="1">
        <a:spcBef>
          <a:spcPts val="300"/>
        </a:spcBef>
        <a:spcAft>
          <a:spcPts val="0"/>
        </a:spcAft>
        <a:buFont typeface="Arial" charset="0"/>
        <a:buChar char="–"/>
        <a:defRPr sz="1400" baseline="0">
          <a:solidFill>
            <a:schemeClr val="tx1"/>
          </a:solidFill>
          <a:latin typeface="+mn-lt"/>
          <a:ea typeface="+mn-ea"/>
          <a:cs typeface="+mn-cs"/>
          <a:sym typeface="+mn-lt"/>
        </a:defRPr>
      </a:lvl2pPr>
      <a:lvl3pPr marL="540000" indent="-179388" algn="l" rtl="0" eaLnBrk="1" fontAlgn="base" hangingPunct="1">
        <a:spcBef>
          <a:spcPts val="300"/>
        </a:spcBef>
        <a:spcAft>
          <a:spcPts val="0"/>
        </a:spcAft>
        <a:buFont typeface="Arial" charset="0"/>
        <a:buChar char="-"/>
        <a:defRPr sz="1400">
          <a:solidFill>
            <a:schemeClr val="tx1"/>
          </a:solidFill>
          <a:latin typeface="+mn-lt"/>
          <a:ea typeface="+mn-ea"/>
          <a:cs typeface="+mn-cs"/>
          <a:sym typeface="+mn-lt"/>
        </a:defRPr>
      </a:lvl3pPr>
      <a:lvl4pPr marL="720000" indent="-179388" algn="l" rtl="0" eaLnBrk="1" fontAlgn="base" hangingPunct="1">
        <a:spcBef>
          <a:spcPts val="300"/>
        </a:spcBef>
        <a:spcAft>
          <a:spcPts val="0"/>
        </a:spcAft>
        <a:buFont typeface="Arial" charset="0"/>
        <a:buChar char="-"/>
        <a:defRPr sz="1400">
          <a:solidFill>
            <a:schemeClr val="tx1"/>
          </a:solidFill>
          <a:latin typeface="+mn-lt"/>
          <a:ea typeface="+mn-ea"/>
          <a:cs typeface="+mn-cs"/>
          <a:sym typeface="+mn-lt"/>
        </a:defRPr>
      </a:lvl4pPr>
      <a:lvl5pPr marL="900000" indent="-180000" algn="l" rtl="0" eaLnBrk="1" fontAlgn="base" hangingPunct="1">
        <a:spcBef>
          <a:spcPts val="300"/>
        </a:spcBef>
        <a:spcAft>
          <a:spcPts val="0"/>
        </a:spcAft>
        <a:buFont typeface="Arial" panose="020B0604020202020204" pitchFamily="34" charset="0"/>
        <a:buChar char="-"/>
        <a:defRPr sz="1400">
          <a:solidFill>
            <a:schemeClr val="tx1"/>
          </a:solidFill>
          <a:latin typeface="+mn-lt"/>
          <a:ea typeface="+mn-ea"/>
          <a:cs typeface="+mn-cs"/>
          <a:sym typeface="+mn-lt"/>
        </a:defRPr>
      </a:lvl5pPr>
      <a:lvl6pPr marL="1080000" indent="-180000" algn="l" rtl="0" eaLnBrk="1" fontAlgn="base" hangingPunct="1">
        <a:spcBef>
          <a:spcPts val="300"/>
        </a:spcBef>
        <a:spcAft>
          <a:spcPts val="0"/>
        </a:spcAft>
        <a:buFont typeface="Arial" charset="0"/>
        <a:buChar char="-"/>
        <a:defRPr sz="1400" baseline="0">
          <a:solidFill>
            <a:schemeClr val="tx1"/>
          </a:solidFill>
          <a:latin typeface="+mn-lt"/>
          <a:cs typeface="+mn-cs"/>
        </a:defRPr>
      </a:lvl6pPr>
      <a:lvl7pPr marL="1260001" indent="-180000" algn="l" rtl="0" eaLnBrk="1" fontAlgn="base" hangingPunct="1">
        <a:spcBef>
          <a:spcPts val="300"/>
        </a:spcBef>
        <a:spcAft>
          <a:spcPts val="0"/>
        </a:spcAft>
        <a:buFont typeface="Arial" charset="0"/>
        <a:buChar char="-"/>
        <a:defRPr sz="1400">
          <a:solidFill>
            <a:schemeClr val="tx1"/>
          </a:solidFill>
          <a:latin typeface="+mn-lt"/>
          <a:cs typeface="+mn-cs"/>
        </a:defRPr>
      </a:lvl7pPr>
      <a:lvl8pPr marL="1440001" indent="-180000" algn="l" rtl="0" eaLnBrk="1" fontAlgn="base" hangingPunct="1">
        <a:spcBef>
          <a:spcPts val="300"/>
        </a:spcBef>
        <a:spcAft>
          <a:spcPts val="0"/>
        </a:spcAft>
        <a:buFont typeface="Arial" charset="0"/>
        <a:buChar char="-"/>
        <a:defRPr sz="1400">
          <a:solidFill>
            <a:schemeClr val="tx1"/>
          </a:solidFill>
          <a:latin typeface="+mn-lt"/>
          <a:cs typeface="+mn-cs"/>
        </a:defRPr>
      </a:lvl8pPr>
      <a:lvl9pPr marL="1620001" indent="-180000" algn="l" rtl="0" eaLnBrk="1" fontAlgn="base" hangingPunct="1">
        <a:spcBef>
          <a:spcPts val="300"/>
        </a:spcBef>
        <a:spcAft>
          <a:spcPts val="0"/>
        </a:spcAft>
        <a:buFont typeface="Arial" charset="0"/>
        <a:buChar char="-"/>
        <a:defRPr sz="1400" baseline="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1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1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1" algn="l" defTabSz="914401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1" algn="l" defTabSz="914401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1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1" algn="l" defTabSz="914401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1" algn="l" defTabSz="914401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2" algn="l" defTabSz="914401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2" algn="l" defTabSz="91440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795" userDrawn="1">
          <p15:clr>
            <a:srgbClr val="F26B43"/>
          </p15:clr>
        </p15:guide>
        <p15:guide id="2" pos="3840" userDrawn="1">
          <p15:clr>
            <a:srgbClr val="F26B43"/>
          </p15:clr>
        </p15:guide>
        <p15:guide id="3" orient="horz" pos="3887" userDrawn="1">
          <p15:clr>
            <a:srgbClr val="F26B43"/>
          </p15:clr>
        </p15:guide>
        <p15:guide id="4" pos="180" userDrawn="1">
          <p15:clr>
            <a:srgbClr val="F26B43"/>
          </p15:clr>
        </p15:guide>
        <p15:guide id="5" pos="7507" userDrawn="1">
          <p15:clr>
            <a:srgbClr val="F26B43"/>
          </p15:clr>
        </p15:guide>
        <p15:guide id="6" orient="horz" pos="240" userDrawn="1">
          <p15:clr>
            <a:srgbClr val="F26B43"/>
          </p15:clr>
        </p15:guide>
        <p15:guide id="7" pos="4027" userDrawn="1">
          <p15:clr>
            <a:srgbClr val="F26B43"/>
          </p15:clr>
        </p15:guide>
        <p15:guide id="8" pos="3653" userDrawn="1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101570730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26" name="think-cell Slide" r:id="rId21" imgW="530" imgH="531" progId="TCLayout.ActiveDocument.1">
                  <p:embed/>
                </p:oleObj>
              </mc:Choice>
              <mc:Fallback>
                <p:oleObj name="think-cell Slide" r:id="rId21" imgW="530" imgH="531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956480C0-E6A6-420E-BACE-C144B8689BDD}"/>
              </a:ext>
            </a:extLst>
          </p:cNvPr>
          <p:cNvSpPr/>
          <p:nvPr userDrawn="1">
            <p:custDataLst>
              <p:tags r:id="rId18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>
              <a:lnSpc>
                <a:spcPct val="100000"/>
              </a:lnSpc>
            </a:pPr>
            <a:endParaRPr lang="en-US" sz="2200" b="0" i="0" baseline="0" dirty="0">
              <a:solidFill>
                <a:schemeClr val="tx1"/>
              </a:solidFill>
              <a:latin typeface="Arial" panose="020B0604020202020204" pitchFamily="34" charset="0"/>
              <a:ea typeface="Meiryo" panose="020B0604030504040204" pitchFamily="34" charset="-128"/>
              <a:cs typeface="+mj-cs"/>
              <a:sym typeface="Arial" panose="020B0604020202020204" pitchFamily="34" charset="0"/>
            </a:endParaRPr>
          </a:p>
        </p:txBody>
      </p:sp>
      <p:sp>
        <p:nvSpPr>
          <p:cNvPr id="15" name="Rectangle 14"/>
          <p:cNvSpPr/>
          <p:nvPr userDrawn="1"/>
        </p:nvSpPr>
        <p:spPr bwMode="auto">
          <a:xfrm>
            <a:off x="0" y="0"/>
            <a:ext cx="12192000" cy="1074396"/>
          </a:xfrm>
          <a:prstGeom prst="rect">
            <a:avLst/>
          </a:prstGeom>
          <a:solidFill>
            <a:schemeClr val="tx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555759"/>
              </a:solidFill>
              <a:effectLst/>
              <a:uLnTx/>
              <a:uFillTx/>
              <a:latin typeface="Palatino Linotype" pitchFamily="18" charset="0"/>
            </a:endParaRPr>
          </a:p>
        </p:txBody>
      </p:sp>
      <p:sp>
        <p:nvSpPr>
          <p:cNvPr id="17" name="Rectangle 16"/>
          <p:cNvSpPr/>
          <p:nvPr userDrawn="1"/>
        </p:nvSpPr>
        <p:spPr bwMode="auto">
          <a:xfrm>
            <a:off x="0" y="1074396"/>
            <a:ext cx="12192000" cy="151354"/>
          </a:xfrm>
          <a:prstGeom prst="rect">
            <a:avLst/>
          </a:prstGeom>
          <a:solidFill>
            <a:schemeClr val="accent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555759"/>
              </a:solidFill>
              <a:effectLst/>
              <a:uLnTx/>
              <a:uFillTx/>
              <a:latin typeface="Palatino Linotype" pitchFamily="18" charset="0"/>
            </a:endParaRPr>
          </a:p>
        </p:txBody>
      </p:sp>
      <p:sp>
        <p:nvSpPr>
          <p:cNvPr id="1026" name="Title"/>
          <p:cNvSpPr>
            <a:spLocks noGrp="1" noChangeArrowheads="1"/>
          </p:cNvSpPr>
          <p:nvPr>
            <p:ph type="title"/>
            <p:custDataLst>
              <p:tags r:id="rId19"/>
            </p:custDataLst>
          </p:nvPr>
        </p:nvSpPr>
        <p:spPr bwMode="gray">
          <a:xfrm>
            <a:off x="287453" y="1"/>
            <a:ext cx="11625600" cy="1011600"/>
          </a:xfrm>
          <a:prstGeom prst="rect">
            <a:avLst/>
          </a:prstGeom>
        </p:spPr>
        <p:txBody>
          <a:bodyPr anchor="b"/>
          <a:lstStyle/>
          <a:p>
            <a:pPr lvl="0"/>
            <a:r>
              <a:rPr lang="en-US" altLang="ja-JP"/>
              <a:t>Click to edit Master title style</a:t>
            </a:r>
            <a:endParaRPr lang="en-GB"/>
          </a:p>
        </p:txBody>
      </p:sp>
      <p:sp>
        <p:nvSpPr>
          <p:cNvPr id="1027" name="BodyText"/>
          <p:cNvSpPr>
            <a:spLocks noGrp="1" noChangeArrowheads="1"/>
          </p:cNvSpPr>
          <p:nvPr>
            <p:ph type="body" idx="1"/>
            <p:custDataLst>
              <p:tags r:id="rId20"/>
            </p:custDataLst>
          </p:nvPr>
        </p:nvSpPr>
        <p:spPr bwMode="gray">
          <a:xfrm>
            <a:off x="287453" y="1341114"/>
            <a:ext cx="11625600" cy="48280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ja-JP"/>
              <a:t>Click to edit Master text styles</a:t>
            </a:r>
          </a:p>
          <a:p>
            <a:pPr lvl="1"/>
            <a:r>
              <a:rPr lang="en-US" altLang="ja-JP"/>
              <a:t>Second level</a:t>
            </a:r>
          </a:p>
          <a:p>
            <a:pPr lvl="2"/>
            <a:r>
              <a:rPr lang="en-US" altLang="ja-JP"/>
              <a:t>Third level</a:t>
            </a:r>
          </a:p>
          <a:p>
            <a:pPr lvl="3"/>
            <a:r>
              <a:rPr lang="en-US" altLang="ja-JP"/>
              <a:t>Fourth level</a:t>
            </a:r>
          </a:p>
          <a:p>
            <a:pPr lvl="4"/>
            <a:r>
              <a:rPr lang="en-US" altLang="ja-JP"/>
              <a:t>Fifth level</a:t>
            </a:r>
            <a:endParaRPr lang="en-GB"/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304802" y="6250077"/>
            <a:ext cx="11592985" cy="0"/>
          </a:xfrm>
          <a:prstGeom prst="line">
            <a:avLst/>
          </a:prstGeom>
          <a:ln w="9525">
            <a:solidFill>
              <a:srgbClr val="555759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18"/>
          <p:cNvSpPr txBox="1">
            <a:spLocks/>
          </p:cNvSpPr>
          <p:nvPr userDrawn="1"/>
        </p:nvSpPr>
        <p:spPr>
          <a:xfrm>
            <a:off x="475204" y="6370117"/>
            <a:ext cx="7770501" cy="205345"/>
          </a:xfrm>
          <a:prstGeom prst="rect">
            <a:avLst/>
          </a:prstGeom>
        </p:spPr>
        <p:txBody>
          <a:bodyPr vert="horz"/>
          <a:lstStyle>
            <a:lvl1pPr marL="0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 baseline="0">
                <a:solidFill>
                  <a:srgbClr val="898C8F"/>
                </a:solidFill>
                <a:latin typeface="+mj-lt"/>
                <a:ea typeface="+mn-ea"/>
                <a:cs typeface="+mn-cs"/>
              </a:defRPr>
            </a:lvl1pPr>
            <a:lvl2pPr marL="457178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2pPr>
            <a:lvl3pPr marL="914354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3pPr>
            <a:lvl4pPr marL="1371532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4pPr>
            <a:lvl5pPr marL="1828709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5pPr>
            <a:lvl6pPr marL="21748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6pPr>
            <a:lvl7pPr marL="26320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7pPr>
            <a:lvl8pPr marL="30892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8pPr>
            <a:lvl9pPr marL="35464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 sz="900" dirty="0">
                <a:solidFill>
                  <a:schemeClr val="tx2">
                    <a:lumMod val="60000"/>
                    <a:lumOff val="40000"/>
                  </a:schemeClr>
                </a:solidFill>
              </a:rPr>
              <a:t>/ </a:t>
            </a:r>
            <a:r>
              <a:rPr lang="en-US" sz="900" kern="1200" cap="all" normalizeH="0" baseline="0" dirty="0">
                <a:solidFill>
                  <a:schemeClr val="tx2">
                    <a:lumMod val="60000"/>
                    <a:lumOff val="40000"/>
                  </a:schemeClr>
                </a:solidFill>
                <a:latin typeface="+mj-lt"/>
                <a:ea typeface="+mn-ea"/>
                <a:cs typeface="+mn-cs"/>
              </a:rPr>
              <a:t>©2016 </a:t>
            </a:r>
            <a:r>
              <a:rPr lang="en-US" sz="900" dirty="0">
                <a:solidFill>
                  <a:schemeClr val="tx2">
                    <a:lumMod val="60000"/>
                    <a:lumOff val="40000"/>
                  </a:schemeClr>
                </a:solidFill>
              </a:rPr>
              <a:t>Navigant – A </a:t>
            </a:r>
            <a:r>
              <a:rPr lang="en-US" sz="900" dirty="0" err="1">
                <a:solidFill>
                  <a:schemeClr val="tx2">
                    <a:lumMod val="60000"/>
                    <a:lumOff val="40000"/>
                  </a:schemeClr>
                </a:solidFill>
              </a:rPr>
              <a:t>Guidehouse</a:t>
            </a:r>
            <a:r>
              <a:rPr lang="en-US" sz="900" dirty="0">
                <a:solidFill>
                  <a:schemeClr val="tx2">
                    <a:lumMod val="60000"/>
                    <a:lumOff val="40000"/>
                  </a:schemeClr>
                </a:solidFill>
              </a:rPr>
              <a:t> Company Consulting,</a:t>
            </a:r>
            <a:r>
              <a:rPr lang="en-US" sz="900" baseline="0" dirty="0">
                <a:solidFill>
                  <a:schemeClr val="tx2">
                    <a:lumMod val="60000"/>
                    <a:lumOff val="40000"/>
                  </a:schemeClr>
                </a:solidFill>
              </a:rPr>
              <a:t> Inc. All rights Reserved</a:t>
            </a:r>
            <a:endParaRPr lang="en-US" sz="900" dirty="0">
              <a:solidFill>
                <a:schemeClr val="tx2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13" name="Text Placeholder 18"/>
          <p:cNvSpPr txBox="1">
            <a:spLocks/>
          </p:cNvSpPr>
          <p:nvPr userDrawn="1"/>
        </p:nvSpPr>
        <p:spPr>
          <a:xfrm>
            <a:off x="182020" y="6365442"/>
            <a:ext cx="824304" cy="210020"/>
          </a:xfrm>
          <a:prstGeom prst="rect">
            <a:avLst/>
          </a:prstGeom>
        </p:spPr>
        <p:txBody>
          <a:bodyPr vert="horz"/>
          <a:lstStyle>
            <a:lvl1pPr marL="0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 baseline="0">
                <a:solidFill>
                  <a:srgbClr val="898C8F"/>
                </a:solidFill>
                <a:latin typeface="+mj-lt"/>
                <a:ea typeface="+mn-ea"/>
                <a:cs typeface="+mn-cs"/>
              </a:defRPr>
            </a:lvl1pPr>
            <a:lvl2pPr marL="457178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2pPr>
            <a:lvl3pPr marL="914354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3pPr>
            <a:lvl4pPr marL="1371532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4pPr>
            <a:lvl5pPr marL="1828709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5pPr>
            <a:lvl6pPr marL="21748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6pPr>
            <a:lvl7pPr marL="26320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7pPr>
            <a:lvl8pPr marL="30892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8pPr>
            <a:lvl9pPr marL="35464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l"/>
            <a:fld id="{C0D4A90D-707C-4CFA-8F87-17CF45DE2B45}" type="slidenum">
              <a:rPr lang="en-US" sz="900" smtClean="0">
                <a:solidFill>
                  <a:srgbClr val="95D600"/>
                </a:solidFill>
              </a:rPr>
              <a:pPr algn="l"/>
              <a:t>‹#›</a:t>
            </a:fld>
            <a:endParaRPr lang="en-US" sz="900"/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2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07280" y="6396705"/>
            <a:ext cx="1303209" cy="1686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0375905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49" r:id="rId1"/>
    <p:sldLayoutId id="2147483950" r:id="rId2"/>
    <p:sldLayoutId id="2147483951" r:id="rId3"/>
    <p:sldLayoutId id="2147483952" r:id="rId4"/>
    <p:sldLayoutId id="2147483953" r:id="rId5"/>
    <p:sldLayoutId id="2147483954" r:id="rId6"/>
    <p:sldLayoutId id="2147483955" r:id="rId7"/>
    <p:sldLayoutId id="2147483956" r:id="rId8"/>
    <p:sldLayoutId id="2147483957" r:id="rId9"/>
    <p:sldLayoutId id="2147483958" r:id="rId10"/>
    <p:sldLayoutId id="2147483959" r:id="rId11"/>
    <p:sldLayoutId id="2147483960" r:id="rId12"/>
    <p:sldLayoutId id="2147483961" r:id="rId13"/>
    <p:sldLayoutId id="2147483962" r:id="rId14"/>
  </p:sldLayoutIdLst>
  <p:hf sldNum="0" hdr="0" ftr="0"/>
  <p:txStyles>
    <p:titleStyle>
      <a:lvl1pPr marL="0" indent="0" algn="l" rtl="0" eaLnBrk="1" fontAlgn="base" hangingPunct="1">
        <a:lnSpc>
          <a:spcPct val="88000"/>
        </a:lnSpc>
        <a:spcBef>
          <a:spcPct val="0"/>
        </a:spcBef>
        <a:spcAft>
          <a:spcPct val="0"/>
        </a:spcAft>
        <a:defRPr lang="en-GB" altLang="ja-JP" sz="2200" b="0" kern="1200" cap="all" baseline="0" dirty="0" smtClean="0">
          <a:solidFill>
            <a:schemeClr val="bg2"/>
          </a:solidFill>
          <a:effectLst/>
          <a:latin typeface="+mn-lt"/>
          <a:ea typeface="+mj-ea"/>
          <a:cs typeface="+mj-cs"/>
          <a:sym typeface="+mj-lt"/>
        </a:defRPr>
      </a:lvl1pPr>
      <a:lvl2pPr algn="l" rtl="0" eaLnBrk="1" fontAlgn="base" hangingPunct="1">
        <a:lnSpc>
          <a:spcPct val="88000"/>
        </a:lnSpc>
        <a:spcBef>
          <a:spcPct val="0"/>
        </a:spcBef>
        <a:spcAft>
          <a:spcPct val="0"/>
        </a:spcAft>
        <a:defRPr>
          <a:solidFill>
            <a:srgbClr val="002C77"/>
          </a:solidFill>
          <a:latin typeface="Arial" charset="0"/>
          <a:cs typeface="Arial" charset="0"/>
        </a:defRPr>
      </a:lvl2pPr>
      <a:lvl3pPr algn="l" rtl="0" eaLnBrk="1" fontAlgn="base" hangingPunct="1">
        <a:lnSpc>
          <a:spcPct val="88000"/>
        </a:lnSpc>
        <a:spcBef>
          <a:spcPct val="0"/>
        </a:spcBef>
        <a:spcAft>
          <a:spcPct val="0"/>
        </a:spcAft>
        <a:defRPr>
          <a:solidFill>
            <a:srgbClr val="002C77"/>
          </a:solidFill>
          <a:latin typeface="Arial" charset="0"/>
          <a:cs typeface="Arial" charset="0"/>
        </a:defRPr>
      </a:lvl3pPr>
      <a:lvl4pPr algn="l" rtl="0" eaLnBrk="1" fontAlgn="base" hangingPunct="1">
        <a:lnSpc>
          <a:spcPct val="88000"/>
        </a:lnSpc>
        <a:spcBef>
          <a:spcPct val="0"/>
        </a:spcBef>
        <a:spcAft>
          <a:spcPct val="0"/>
        </a:spcAft>
        <a:defRPr>
          <a:solidFill>
            <a:srgbClr val="002C77"/>
          </a:solidFill>
          <a:latin typeface="Arial" charset="0"/>
          <a:cs typeface="Arial" charset="0"/>
        </a:defRPr>
      </a:lvl4pPr>
      <a:lvl5pPr algn="l" rtl="0" eaLnBrk="1" fontAlgn="base" hangingPunct="1">
        <a:lnSpc>
          <a:spcPct val="88000"/>
        </a:lnSpc>
        <a:spcBef>
          <a:spcPct val="0"/>
        </a:spcBef>
        <a:spcAft>
          <a:spcPct val="0"/>
        </a:spcAft>
        <a:defRPr>
          <a:solidFill>
            <a:srgbClr val="002C77"/>
          </a:solidFill>
          <a:latin typeface="Arial" charset="0"/>
          <a:cs typeface="Arial" charset="0"/>
        </a:defRPr>
      </a:lvl5pPr>
      <a:lvl6pPr marL="457200" algn="l" rtl="0" eaLnBrk="1" fontAlgn="base" hangingPunct="1">
        <a:lnSpc>
          <a:spcPct val="88000"/>
        </a:lnSpc>
        <a:spcBef>
          <a:spcPct val="0"/>
        </a:spcBef>
        <a:spcAft>
          <a:spcPct val="0"/>
        </a:spcAft>
        <a:defRPr>
          <a:solidFill>
            <a:srgbClr val="002C77"/>
          </a:solidFill>
          <a:latin typeface="Arial" charset="0"/>
          <a:cs typeface="Arial" charset="0"/>
        </a:defRPr>
      </a:lvl6pPr>
      <a:lvl7pPr marL="914401" algn="l" rtl="0" eaLnBrk="1" fontAlgn="base" hangingPunct="1">
        <a:lnSpc>
          <a:spcPct val="88000"/>
        </a:lnSpc>
        <a:spcBef>
          <a:spcPct val="0"/>
        </a:spcBef>
        <a:spcAft>
          <a:spcPct val="0"/>
        </a:spcAft>
        <a:defRPr>
          <a:solidFill>
            <a:srgbClr val="002C77"/>
          </a:solidFill>
          <a:latin typeface="Arial" charset="0"/>
          <a:cs typeface="Arial" charset="0"/>
        </a:defRPr>
      </a:lvl7pPr>
      <a:lvl8pPr marL="1371601" algn="l" rtl="0" eaLnBrk="1" fontAlgn="base" hangingPunct="1">
        <a:lnSpc>
          <a:spcPct val="88000"/>
        </a:lnSpc>
        <a:spcBef>
          <a:spcPct val="0"/>
        </a:spcBef>
        <a:spcAft>
          <a:spcPct val="0"/>
        </a:spcAft>
        <a:defRPr>
          <a:solidFill>
            <a:srgbClr val="002C77"/>
          </a:solidFill>
          <a:latin typeface="Arial" charset="0"/>
          <a:cs typeface="Arial" charset="0"/>
        </a:defRPr>
      </a:lvl8pPr>
      <a:lvl9pPr marL="1828800" algn="l" rtl="0" eaLnBrk="1" fontAlgn="base" hangingPunct="1">
        <a:lnSpc>
          <a:spcPct val="88000"/>
        </a:lnSpc>
        <a:spcBef>
          <a:spcPct val="0"/>
        </a:spcBef>
        <a:spcAft>
          <a:spcPct val="0"/>
        </a:spcAft>
        <a:defRPr>
          <a:solidFill>
            <a:srgbClr val="002C77"/>
          </a:solidFill>
          <a:latin typeface="Arial" charset="0"/>
          <a:cs typeface="Arial" charset="0"/>
        </a:defRPr>
      </a:lvl9pPr>
    </p:titleStyle>
    <p:bodyStyle>
      <a:lvl1pPr marL="180000" indent="-180000" algn="l" rtl="0" eaLnBrk="1" fontAlgn="base" hangingPunct="1">
        <a:spcBef>
          <a:spcPts val="700"/>
        </a:spcBef>
        <a:spcAft>
          <a:spcPts val="0"/>
        </a:spcAft>
        <a:buChar char="•"/>
        <a:defRPr sz="1400">
          <a:solidFill>
            <a:schemeClr val="tx1"/>
          </a:solidFill>
          <a:latin typeface="+mn-lt"/>
          <a:ea typeface="+mn-ea"/>
          <a:cs typeface="+mn-cs"/>
          <a:sym typeface="+mn-lt"/>
        </a:defRPr>
      </a:lvl1pPr>
      <a:lvl2pPr marL="360000" indent="-180000" algn="l" rtl="0" eaLnBrk="1" fontAlgn="base" hangingPunct="1">
        <a:spcBef>
          <a:spcPts val="300"/>
        </a:spcBef>
        <a:spcAft>
          <a:spcPts val="0"/>
        </a:spcAft>
        <a:buFont typeface="Arial" charset="0"/>
        <a:buChar char="–"/>
        <a:defRPr sz="1400" baseline="0">
          <a:solidFill>
            <a:schemeClr val="tx1"/>
          </a:solidFill>
          <a:latin typeface="+mn-lt"/>
          <a:ea typeface="+mn-ea"/>
          <a:cs typeface="+mn-cs"/>
          <a:sym typeface="+mn-lt"/>
        </a:defRPr>
      </a:lvl2pPr>
      <a:lvl3pPr marL="540000" indent="-179388" algn="l" rtl="0" eaLnBrk="1" fontAlgn="base" hangingPunct="1">
        <a:spcBef>
          <a:spcPts val="300"/>
        </a:spcBef>
        <a:spcAft>
          <a:spcPts val="0"/>
        </a:spcAft>
        <a:buFont typeface="Arial" charset="0"/>
        <a:buChar char="-"/>
        <a:defRPr sz="1400">
          <a:solidFill>
            <a:schemeClr val="tx1"/>
          </a:solidFill>
          <a:latin typeface="+mn-lt"/>
          <a:ea typeface="+mn-ea"/>
          <a:cs typeface="+mn-cs"/>
          <a:sym typeface="+mn-lt"/>
        </a:defRPr>
      </a:lvl3pPr>
      <a:lvl4pPr marL="720000" indent="-179388" algn="l" rtl="0" eaLnBrk="1" fontAlgn="base" hangingPunct="1">
        <a:spcBef>
          <a:spcPts val="300"/>
        </a:spcBef>
        <a:spcAft>
          <a:spcPts val="0"/>
        </a:spcAft>
        <a:buFont typeface="Arial" charset="0"/>
        <a:buChar char="-"/>
        <a:defRPr sz="1400">
          <a:solidFill>
            <a:schemeClr val="tx1"/>
          </a:solidFill>
          <a:latin typeface="+mn-lt"/>
          <a:ea typeface="+mn-ea"/>
          <a:cs typeface="+mn-cs"/>
          <a:sym typeface="+mn-lt"/>
        </a:defRPr>
      </a:lvl4pPr>
      <a:lvl5pPr marL="900000" indent="-180000" algn="l" rtl="0" eaLnBrk="1" fontAlgn="base" hangingPunct="1">
        <a:spcBef>
          <a:spcPts val="300"/>
        </a:spcBef>
        <a:spcAft>
          <a:spcPts val="0"/>
        </a:spcAft>
        <a:buFont typeface="Arial" panose="020B0604020202020204" pitchFamily="34" charset="0"/>
        <a:buChar char="-"/>
        <a:defRPr sz="1400">
          <a:solidFill>
            <a:schemeClr val="tx1"/>
          </a:solidFill>
          <a:latin typeface="+mn-lt"/>
          <a:ea typeface="+mn-ea"/>
          <a:cs typeface="+mn-cs"/>
          <a:sym typeface="+mn-lt"/>
        </a:defRPr>
      </a:lvl5pPr>
      <a:lvl6pPr marL="1080000" indent="-180000" algn="l" rtl="0" eaLnBrk="1" fontAlgn="base" hangingPunct="1">
        <a:spcBef>
          <a:spcPts val="300"/>
        </a:spcBef>
        <a:spcAft>
          <a:spcPts val="0"/>
        </a:spcAft>
        <a:buFont typeface="Arial" charset="0"/>
        <a:buChar char="-"/>
        <a:defRPr sz="1400" baseline="0">
          <a:solidFill>
            <a:schemeClr val="tx1"/>
          </a:solidFill>
          <a:latin typeface="+mn-lt"/>
          <a:cs typeface="+mn-cs"/>
        </a:defRPr>
      </a:lvl6pPr>
      <a:lvl7pPr marL="1260001" indent="-180000" algn="l" rtl="0" eaLnBrk="1" fontAlgn="base" hangingPunct="1">
        <a:spcBef>
          <a:spcPts val="300"/>
        </a:spcBef>
        <a:spcAft>
          <a:spcPts val="0"/>
        </a:spcAft>
        <a:buFont typeface="Arial" charset="0"/>
        <a:buChar char="-"/>
        <a:defRPr sz="1400">
          <a:solidFill>
            <a:schemeClr val="tx1"/>
          </a:solidFill>
          <a:latin typeface="+mn-lt"/>
          <a:cs typeface="+mn-cs"/>
        </a:defRPr>
      </a:lvl7pPr>
      <a:lvl8pPr marL="1440001" indent="-180000" algn="l" rtl="0" eaLnBrk="1" fontAlgn="base" hangingPunct="1">
        <a:spcBef>
          <a:spcPts val="300"/>
        </a:spcBef>
        <a:spcAft>
          <a:spcPts val="0"/>
        </a:spcAft>
        <a:buFont typeface="Arial" charset="0"/>
        <a:buChar char="-"/>
        <a:defRPr sz="1400">
          <a:solidFill>
            <a:schemeClr val="tx1"/>
          </a:solidFill>
          <a:latin typeface="+mn-lt"/>
          <a:cs typeface="+mn-cs"/>
        </a:defRPr>
      </a:lvl8pPr>
      <a:lvl9pPr marL="1620001" indent="-180000" algn="l" rtl="0" eaLnBrk="1" fontAlgn="base" hangingPunct="1">
        <a:spcBef>
          <a:spcPts val="300"/>
        </a:spcBef>
        <a:spcAft>
          <a:spcPts val="0"/>
        </a:spcAft>
        <a:buFont typeface="Arial" charset="0"/>
        <a:buChar char="-"/>
        <a:defRPr sz="1400" baseline="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1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1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1" algn="l" defTabSz="914401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1" algn="l" defTabSz="914401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1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1" algn="l" defTabSz="914401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1" algn="l" defTabSz="914401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2" algn="l" defTabSz="914401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2" algn="l" defTabSz="91440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795" userDrawn="1">
          <p15:clr>
            <a:srgbClr val="F26B43"/>
          </p15:clr>
        </p15:guide>
        <p15:guide id="2" pos="3840" userDrawn="1">
          <p15:clr>
            <a:srgbClr val="F26B43"/>
          </p15:clr>
        </p15:guide>
        <p15:guide id="3" orient="horz" pos="3887" userDrawn="1">
          <p15:clr>
            <a:srgbClr val="F26B43"/>
          </p15:clr>
        </p15:guide>
        <p15:guide id="4" pos="180" userDrawn="1">
          <p15:clr>
            <a:srgbClr val="F26B43"/>
          </p15:clr>
        </p15:guide>
        <p15:guide id="5" pos="7507" userDrawn="1">
          <p15:clr>
            <a:srgbClr val="F26B43"/>
          </p15:clr>
        </p15:guide>
        <p15:guide id="6" orient="horz" pos="240" userDrawn="1">
          <p15:clr>
            <a:srgbClr val="F26B43"/>
          </p15:clr>
        </p15:guide>
        <p15:guide id="7" pos="4027" userDrawn="1">
          <p15:clr>
            <a:srgbClr val="F26B43"/>
          </p15:clr>
        </p15:guide>
        <p15:guide id="8" pos="3653" userDrawn="1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442312762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22" name="think-cell Slide" r:id="rId7" imgW="216" imgH="216" progId="TCLayout.ActiveDocument.1">
                  <p:embed/>
                </p:oleObj>
              </mc:Choice>
              <mc:Fallback>
                <p:oleObj name="think-cell Slide" r:id="rId7" imgW="216" imgH="21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Text Placeholder 18"/>
          <p:cNvSpPr txBox="1">
            <a:spLocks/>
          </p:cNvSpPr>
          <p:nvPr userDrawn="1"/>
        </p:nvSpPr>
        <p:spPr>
          <a:xfrm>
            <a:off x="412682" y="6370117"/>
            <a:ext cx="7770501" cy="205345"/>
          </a:xfrm>
          <a:prstGeom prst="rect">
            <a:avLst/>
          </a:prstGeom>
        </p:spPr>
        <p:txBody>
          <a:bodyPr vert="horz"/>
          <a:lstStyle>
            <a:lvl1pPr marL="0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 baseline="0">
                <a:solidFill>
                  <a:srgbClr val="898C8F"/>
                </a:solidFill>
                <a:latin typeface="+mj-lt"/>
                <a:ea typeface="+mn-ea"/>
                <a:cs typeface="+mn-cs"/>
              </a:defRPr>
            </a:lvl1pPr>
            <a:lvl2pPr marL="457178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2pPr>
            <a:lvl3pPr marL="914354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3pPr>
            <a:lvl4pPr marL="1371532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4pPr>
            <a:lvl5pPr marL="1828709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5pPr>
            <a:lvl6pPr marL="21748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6pPr>
            <a:lvl7pPr marL="26320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7pPr>
            <a:lvl8pPr marL="30892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8pPr>
            <a:lvl9pPr marL="35464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 sz="900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/ </a:t>
            </a:r>
            <a:r>
              <a:rPr lang="en-US" sz="900" kern="1200" cap="all" normalizeH="0" baseline="0" dirty="0">
                <a:solidFill>
                  <a:schemeClr val="accent1">
                    <a:lumMod val="60000"/>
                    <a:lumOff val="40000"/>
                  </a:schemeClr>
                </a:solidFill>
                <a:latin typeface="+mj-lt"/>
                <a:ea typeface="+mn-ea"/>
                <a:cs typeface="+mn-cs"/>
              </a:rPr>
              <a:t>©2016 </a:t>
            </a:r>
            <a:r>
              <a:rPr lang="en-US" sz="900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Navigant – A </a:t>
            </a:r>
            <a:r>
              <a:rPr lang="en-US" sz="900" dirty="0" err="1">
                <a:solidFill>
                  <a:schemeClr val="accent1">
                    <a:lumMod val="60000"/>
                    <a:lumOff val="40000"/>
                  </a:schemeClr>
                </a:solidFill>
              </a:rPr>
              <a:t>Guidehouse</a:t>
            </a:r>
            <a:r>
              <a:rPr lang="en-US" sz="900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 Company Consulting,</a:t>
            </a:r>
            <a:r>
              <a:rPr lang="en-US" sz="900" baseline="0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 Inc. All rights Reserved</a:t>
            </a:r>
            <a:endParaRPr lang="en-US" sz="900" dirty="0">
              <a:solidFill>
                <a:schemeClr val="accent1">
                  <a:lumMod val="60000"/>
                  <a:lumOff val="40000"/>
                </a:schemeClr>
              </a:solidFill>
            </a:endParaRPr>
          </a:p>
        </p:txBody>
      </p:sp>
      <p:cxnSp>
        <p:nvCxnSpPr>
          <p:cNvPr id="22" name="Straight Connector 21"/>
          <p:cNvCxnSpPr/>
          <p:nvPr userDrawn="1"/>
        </p:nvCxnSpPr>
        <p:spPr>
          <a:xfrm>
            <a:off x="304802" y="6250077"/>
            <a:ext cx="11592985" cy="0"/>
          </a:xfrm>
          <a:prstGeom prst="line">
            <a:avLst/>
          </a:prstGeom>
          <a:ln w="9525">
            <a:solidFill>
              <a:srgbClr val="555759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4" name="Text Placeholder 18"/>
          <p:cNvSpPr txBox="1">
            <a:spLocks/>
          </p:cNvSpPr>
          <p:nvPr userDrawn="1"/>
        </p:nvSpPr>
        <p:spPr>
          <a:xfrm>
            <a:off x="182020" y="6365442"/>
            <a:ext cx="478315" cy="231169"/>
          </a:xfrm>
          <a:prstGeom prst="rect">
            <a:avLst/>
          </a:prstGeom>
        </p:spPr>
        <p:txBody>
          <a:bodyPr vert="horz"/>
          <a:lstStyle>
            <a:lvl1pPr marL="0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 baseline="0">
                <a:solidFill>
                  <a:srgbClr val="898C8F"/>
                </a:solidFill>
                <a:latin typeface="+mj-lt"/>
                <a:ea typeface="+mn-ea"/>
                <a:cs typeface="+mn-cs"/>
              </a:defRPr>
            </a:lvl1pPr>
            <a:lvl2pPr marL="457178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2pPr>
            <a:lvl3pPr marL="914354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3pPr>
            <a:lvl4pPr marL="1371532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4pPr>
            <a:lvl5pPr marL="1828709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5pPr>
            <a:lvl6pPr marL="21748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6pPr>
            <a:lvl7pPr marL="26320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7pPr>
            <a:lvl8pPr marL="30892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8pPr>
            <a:lvl9pPr marL="35464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l"/>
            <a:fld id="{C0D4A90D-707C-4CFA-8F87-17CF45DE2B45}" type="slidenum">
              <a:rPr lang="en-US" sz="900" smtClean="0">
                <a:solidFill>
                  <a:srgbClr val="95D600"/>
                </a:solidFill>
              </a:rPr>
              <a:pPr algn="l"/>
              <a:t>‹#›</a:t>
            </a:fld>
            <a:endParaRPr lang="en-US" sz="900" dirty="0"/>
          </a:p>
        </p:txBody>
      </p:sp>
      <p:sp>
        <p:nvSpPr>
          <p:cNvPr id="1037" name="Rectangle 14"/>
          <p:cNvSpPr>
            <a:spLocks noGrp="1" noChangeArrowheads="1"/>
          </p:cNvSpPr>
          <p:nvPr userDrawn="1">
            <p:ph type="body" idx="1"/>
          </p:nvPr>
        </p:nvSpPr>
        <p:spPr bwMode="auto">
          <a:xfrm>
            <a:off x="2772747" y="1262358"/>
            <a:ext cx="9142163" cy="49066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4" name="Straight Connector 3"/>
          <p:cNvCxnSpPr/>
          <p:nvPr userDrawn="1"/>
        </p:nvCxnSpPr>
        <p:spPr bwMode="auto">
          <a:xfrm flipH="1">
            <a:off x="0" y="6302465"/>
            <a:ext cx="12192000" cy="0"/>
          </a:xfrm>
          <a:prstGeom prst="line">
            <a:avLst/>
          </a:prstGeom>
          <a:solidFill>
            <a:schemeClr val="accent1"/>
          </a:solidFill>
          <a:ln w="19050" cap="flat" cmpd="dbl" algn="ctr">
            <a:noFill/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07280" y="6400190"/>
            <a:ext cx="1303209" cy="168518"/>
          </a:xfrm>
          <a:prstGeom prst="rect">
            <a:avLst/>
          </a:prstGeom>
        </p:spPr>
      </p:pic>
      <p:cxnSp>
        <p:nvCxnSpPr>
          <p:cNvPr id="5" name="Straight Connector 4"/>
          <p:cNvCxnSpPr/>
          <p:nvPr userDrawn="1"/>
        </p:nvCxnSpPr>
        <p:spPr bwMode="auto">
          <a:xfrm>
            <a:off x="2772747" y="1022438"/>
            <a:ext cx="9419253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1" name="Freeform 10"/>
          <p:cNvSpPr/>
          <p:nvPr userDrawn="1"/>
        </p:nvSpPr>
        <p:spPr>
          <a:xfrm>
            <a:off x="1" y="1"/>
            <a:ext cx="2781343" cy="5136220"/>
          </a:xfrm>
          <a:custGeom>
            <a:avLst/>
            <a:gdLst>
              <a:gd name="connsiteX0" fmla="*/ 0 w 1661746"/>
              <a:gd name="connsiteY0" fmla="*/ 0 h 4044462"/>
              <a:gd name="connsiteX1" fmla="*/ 1661746 w 1661746"/>
              <a:gd name="connsiteY1" fmla="*/ 0 h 4044462"/>
              <a:gd name="connsiteX2" fmla="*/ 17585 w 1661746"/>
              <a:gd name="connsiteY2" fmla="*/ 4044462 h 4044462"/>
              <a:gd name="connsiteX3" fmla="*/ 0 w 1661746"/>
              <a:gd name="connsiteY3" fmla="*/ 0 h 4044462"/>
              <a:gd name="connsiteX0" fmla="*/ 0 w 1661746"/>
              <a:gd name="connsiteY0" fmla="*/ 0 h 4039867"/>
              <a:gd name="connsiteX1" fmla="*/ 1661746 w 1661746"/>
              <a:gd name="connsiteY1" fmla="*/ 0 h 4039867"/>
              <a:gd name="connsiteX2" fmla="*/ 12990 w 1661746"/>
              <a:gd name="connsiteY2" fmla="*/ 4039867 h 4039867"/>
              <a:gd name="connsiteX3" fmla="*/ 0 w 1661746"/>
              <a:gd name="connsiteY3" fmla="*/ 0 h 4039867"/>
              <a:gd name="connsiteX0" fmla="*/ 170948 w 1648895"/>
              <a:gd name="connsiteY0" fmla="*/ 284889 h 4039867"/>
              <a:gd name="connsiteX1" fmla="*/ 1648895 w 1648895"/>
              <a:gd name="connsiteY1" fmla="*/ 0 h 4039867"/>
              <a:gd name="connsiteX2" fmla="*/ 139 w 1648895"/>
              <a:gd name="connsiteY2" fmla="*/ 4039867 h 4039867"/>
              <a:gd name="connsiteX3" fmla="*/ 170948 w 1648895"/>
              <a:gd name="connsiteY3" fmla="*/ 284889 h 4039867"/>
              <a:gd name="connsiteX0" fmla="*/ 170948 w 1653490"/>
              <a:gd name="connsiteY0" fmla="*/ 225154 h 3980132"/>
              <a:gd name="connsiteX1" fmla="*/ 1653490 w 1653490"/>
              <a:gd name="connsiteY1" fmla="*/ 0 h 3980132"/>
              <a:gd name="connsiteX2" fmla="*/ 139 w 1653490"/>
              <a:gd name="connsiteY2" fmla="*/ 3980132 h 3980132"/>
              <a:gd name="connsiteX3" fmla="*/ 170948 w 1653490"/>
              <a:gd name="connsiteY3" fmla="*/ 225154 h 3980132"/>
              <a:gd name="connsiteX0" fmla="*/ 170948 w 1658085"/>
              <a:gd name="connsiteY0" fmla="*/ 284889 h 4039867"/>
              <a:gd name="connsiteX1" fmla="*/ 1658085 w 1658085"/>
              <a:gd name="connsiteY1" fmla="*/ 0 h 4039867"/>
              <a:gd name="connsiteX2" fmla="*/ 139 w 1658085"/>
              <a:gd name="connsiteY2" fmla="*/ 4039867 h 4039867"/>
              <a:gd name="connsiteX3" fmla="*/ 170948 w 1658085"/>
              <a:gd name="connsiteY3" fmla="*/ 284889 h 4039867"/>
              <a:gd name="connsiteX0" fmla="*/ 0 w 1666341"/>
              <a:gd name="connsiteY0" fmla="*/ 4595 h 4039867"/>
              <a:gd name="connsiteX1" fmla="*/ 1666341 w 1666341"/>
              <a:gd name="connsiteY1" fmla="*/ 0 h 4039867"/>
              <a:gd name="connsiteX2" fmla="*/ 8395 w 1666341"/>
              <a:gd name="connsiteY2" fmla="*/ 4039867 h 4039867"/>
              <a:gd name="connsiteX3" fmla="*/ 0 w 1666341"/>
              <a:gd name="connsiteY3" fmla="*/ 4595 h 4039867"/>
              <a:gd name="connsiteX0" fmla="*/ 0 w 1666341"/>
              <a:gd name="connsiteY0" fmla="*/ 4595 h 4035272"/>
              <a:gd name="connsiteX1" fmla="*/ 1666341 w 1666341"/>
              <a:gd name="connsiteY1" fmla="*/ 0 h 4035272"/>
              <a:gd name="connsiteX2" fmla="*/ 8395 w 1666341"/>
              <a:gd name="connsiteY2" fmla="*/ 4035272 h 4035272"/>
              <a:gd name="connsiteX3" fmla="*/ 0 w 1666341"/>
              <a:gd name="connsiteY3" fmla="*/ 4595 h 4035272"/>
              <a:gd name="connsiteX0" fmla="*/ 56296 w 1658307"/>
              <a:gd name="connsiteY0" fmla="*/ 114874 h 4035272"/>
              <a:gd name="connsiteX1" fmla="*/ 1658307 w 1658307"/>
              <a:gd name="connsiteY1" fmla="*/ 0 h 4035272"/>
              <a:gd name="connsiteX2" fmla="*/ 361 w 1658307"/>
              <a:gd name="connsiteY2" fmla="*/ 4035272 h 4035272"/>
              <a:gd name="connsiteX3" fmla="*/ 56296 w 1658307"/>
              <a:gd name="connsiteY3" fmla="*/ 114874 h 4035272"/>
              <a:gd name="connsiteX0" fmla="*/ 2400 w 1659551"/>
              <a:gd name="connsiteY0" fmla="*/ 9190 h 4035272"/>
              <a:gd name="connsiteX1" fmla="*/ 1659551 w 1659551"/>
              <a:gd name="connsiteY1" fmla="*/ 0 h 4035272"/>
              <a:gd name="connsiteX2" fmla="*/ 1605 w 1659551"/>
              <a:gd name="connsiteY2" fmla="*/ 4035272 h 4035272"/>
              <a:gd name="connsiteX3" fmla="*/ 2400 w 1659551"/>
              <a:gd name="connsiteY3" fmla="*/ 9190 h 4035272"/>
              <a:gd name="connsiteX0" fmla="*/ 146 w 1659873"/>
              <a:gd name="connsiteY0" fmla="*/ 6614 h 4035272"/>
              <a:gd name="connsiteX1" fmla="*/ 1659873 w 1659873"/>
              <a:gd name="connsiteY1" fmla="*/ 0 h 4035272"/>
              <a:gd name="connsiteX2" fmla="*/ 1927 w 1659873"/>
              <a:gd name="connsiteY2" fmla="*/ 4035272 h 4035272"/>
              <a:gd name="connsiteX3" fmla="*/ 146 w 1659873"/>
              <a:gd name="connsiteY3" fmla="*/ 6614 h 4035272"/>
              <a:gd name="connsiteX0" fmla="*/ 146 w 1649570"/>
              <a:gd name="connsiteY0" fmla="*/ 0 h 4028658"/>
              <a:gd name="connsiteX1" fmla="*/ 1649570 w 1649570"/>
              <a:gd name="connsiteY1" fmla="*/ 11416 h 4028658"/>
              <a:gd name="connsiteX2" fmla="*/ 1927 w 1649570"/>
              <a:gd name="connsiteY2" fmla="*/ 4028658 h 4028658"/>
              <a:gd name="connsiteX3" fmla="*/ 146 w 1649570"/>
              <a:gd name="connsiteY3" fmla="*/ 0 h 4028658"/>
              <a:gd name="connsiteX0" fmla="*/ 57814 w 1647996"/>
              <a:gd name="connsiteY0" fmla="*/ 109645 h 4017242"/>
              <a:gd name="connsiteX1" fmla="*/ 1647996 w 1647996"/>
              <a:gd name="connsiteY1" fmla="*/ 0 h 4017242"/>
              <a:gd name="connsiteX2" fmla="*/ 353 w 1647996"/>
              <a:gd name="connsiteY2" fmla="*/ 4017242 h 4017242"/>
              <a:gd name="connsiteX3" fmla="*/ 57814 w 1647996"/>
              <a:gd name="connsiteY3" fmla="*/ 109645 h 4017242"/>
              <a:gd name="connsiteX0" fmla="*/ 52689 w 1648022"/>
              <a:gd name="connsiteY0" fmla="*/ 65857 h 4017242"/>
              <a:gd name="connsiteX1" fmla="*/ 1648022 w 1648022"/>
              <a:gd name="connsiteY1" fmla="*/ 0 h 4017242"/>
              <a:gd name="connsiteX2" fmla="*/ 379 w 1648022"/>
              <a:gd name="connsiteY2" fmla="*/ 4017242 h 4017242"/>
              <a:gd name="connsiteX3" fmla="*/ 52689 w 1648022"/>
              <a:gd name="connsiteY3" fmla="*/ 65857 h 4017242"/>
              <a:gd name="connsiteX0" fmla="*/ 9598 w 1648720"/>
              <a:gd name="connsiteY0" fmla="*/ 0 h 4020931"/>
              <a:gd name="connsiteX1" fmla="*/ 1648720 w 1648720"/>
              <a:gd name="connsiteY1" fmla="*/ 3689 h 4020931"/>
              <a:gd name="connsiteX2" fmla="*/ 1077 w 1648720"/>
              <a:gd name="connsiteY2" fmla="*/ 4020931 h 4020931"/>
              <a:gd name="connsiteX3" fmla="*/ 9598 w 1648720"/>
              <a:gd name="connsiteY3" fmla="*/ 0 h 4020931"/>
              <a:gd name="connsiteX0" fmla="*/ 12067 w 1651189"/>
              <a:gd name="connsiteY0" fmla="*/ 0 h 4023507"/>
              <a:gd name="connsiteX1" fmla="*/ 1651189 w 1651189"/>
              <a:gd name="connsiteY1" fmla="*/ 3689 h 4023507"/>
              <a:gd name="connsiteX2" fmla="*/ 971 w 1651189"/>
              <a:gd name="connsiteY2" fmla="*/ 4023507 h 4023507"/>
              <a:gd name="connsiteX3" fmla="*/ 12067 w 1651189"/>
              <a:gd name="connsiteY3" fmla="*/ 0 h 4023507"/>
              <a:gd name="connsiteX0" fmla="*/ 0 w 1639122"/>
              <a:gd name="connsiteY0" fmla="*/ 0 h 4023507"/>
              <a:gd name="connsiteX1" fmla="*/ 1639122 w 1639122"/>
              <a:gd name="connsiteY1" fmla="*/ 3689 h 4023507"/>
              <a:gd name="connsiteX2" fmla="*/ 6935 w 1639122"/>
              <a:gd name="connsiteY2" fmla="*/ 4023507 h 4023507"/>
              <a:gd name="connsiteX3" fmla="*/ 0 w 1639122"/>
              <a:gd name="connsiteY3" fmla="*/ 0 h 4023507"/>
              <a:gd name="connsiteX0" fmla="*/ 17059 w 1656181"/>
              <a:gd name="connsiteY0" fmla="*/ 0 h 4015780"/>
              <a:gd name="connsiteX1" fmla="*/ 1656181 w 1656181"/>
              <a:gd name="connsiteY1" fmla="*/ 3689 h 4015780"/>
              <a:gd name="connsiteX2" fmla="*/ 812 w 1656181"/>
              <a:gd name="connsiteY2" fmla="*/ 4015780 h 4015780"/>
              <a:gd name="connsiteX3" fmla="*/ 17059 w 1656181"/>
              <a:gd name="connsiteY3" fmla="*/ 0 h 4015780"/>
              <a:gd name="connsiteX0" fmla="*/ 0 w 1639122"/>
              <a:gd name="connsiteY0" fmla="*/ 0 h 3899870"/>
              <a:gd name="connsiteX1" fmla="*/ 1639122 w 1639122"/>
              <a:gd name="connsiteY1" fmla="*/ 3689 h 3899870"/>
              <a:gd name="connsiteX2" fmla="*/ 73905 w 1639122"/>
              <a:gd name="connsiteY2" fmla="*/ 3899870 h 3899870"/>
              <a:gd name="connsiteX3" fmla="*/ 0 w 1639122"/>
              <a:gd name="connsiteY3" fmla="*/ 0 h 3899870"/>
              <a:gd name="connsiteX0" fmla="*/ 0 w 1639122"/>
              <a:gd name="connsiteY0" fmla="*/ 0 h 3987447"/>
              <a:gd name="connsiteX1" fmla="*/ 1639122 w 1639122"/>
              <a:gd name="connsiteY1" fmla="*/ 3689 h 3987447"/>
              <a:gd name="connsiteX2" fmla="*/ 6935 w 1639122"/>
              <a:gd name="connsiteY2" fmla="*/ 3987447 h 3987447"/>
              <a:gd name="connsiteX3" fmla="*/ 0 w 1639122"/>
              <a:gd name="connsiteY3" fmla="*/ 0 h 3987447"/>
              <a:gd name="connsiteX0" fmla="*/ 144 w 1639266"/>
              <a:gd name="connsiteY0" fmla="*/ 0 h 3987447"/>
              <a:gd name="connsiteX1" fmla="*/ 1639266 w 1639266"/>
              <a:gd name="connsiteY1" fmla="*/ 3689 h 3987447"/>
              <a:gd name="connsiteX2" fmla="*/ 1927 w 1639266"/>
              <a:gd name="connsiteY2" fmla="*/ 3987447 h 3987447"/>
              <a:gd name="connsiteX3" fmla="*/ 144 w 1639266"/>
              <a:gd name="connsiteY3" fmla="*/ 0 h 3987447"/>
              <a:gd name="connsiteX0" fmla="*/ 2397 w 1641519"/>
              <a:gd name="connsiteY0" fmla="*/ 0 h 3995174"/>
              <a:gd name="connsiteX1" fmla="*/ 1641519 w 1641519"/>
              <a:gd name="connsiteY1" fmla="*/ 3689 h 3995174"/>
              <a:gd name="connsiteX2" fmla="*/ 1605 w 1641519"/>
              <a:gd name="connsiteY2" fmla="*/ 3995174 h 3995174"/>
              <a:gd name="connsiteX3" fmla="*/ 2397 w 1641519"/>
              <a:gd name="connsiteY3" fmla="*/ 0 h 3995174"/>
              <a:gd name="connsiteX0" fmla="*/ 9681 w 1648803"/>
              <a:gd name="connsiteY0" fmla="*/ 0 h 5116681"/>
              <a:gd name="connsiteX1" fmla="*/ 1648803 w 1648803"/>
              <a:gd name="connsiteY1" fmla="*/ 3689 h 5116681"/>
              <a:gd name="connsiteX2" fmla="*/ 1073 w 1648803"/>
              <a:gd name="connsiteY2" fmla="*/ 5116681 h 5116681"/>
              <a:gd name="connsiteX3" fmla="*/ 9681 w 1648803"/>
              <a:gd name="connsiteY3" fmla="*/ 0 h 5116681"/>
              <a:gd name="connsiteX0" fmla="*/ 9681 w 2078650"/>
              <a:gd name="connsiteY0" fmla="*/ 0 h 5116681"/>
              <a:gd name="connsiteX1" fmla="*/ 2078650 w 2078650"/>
              <a:gd name="connsiteY1" fmla="*/ 3689 h 5116681"/>
              <a:gd name="connsiteX2" fmla="*/ 1073 w 2078650"/>
              <a:gd name="connsiteY2" fmla="*/ 5116681 h 5116681"/>
              <a:gd name="connsiteX3" fmla="*/ 9681 w 2078650"/>
              <a:gd name="connsiteY3" fmla="*/ 0 h 5116681"/>
              <a:gd name="connsiteX0" fmla="*/ 5986 w 2078862"/>
              <a:gd name="connsiteY0" fmla="*/ 0 h 5120589"/>
              <a:gd name="connsiteX1" fmla="*/ 2078862 w 2078862"/>
              <a:gd name="connsiteY1" fmla="*/ 7597 h 5120589"/>
              <a:gd name="connsiteX2" fmla="*/ 1285 w 2078862"/>
              <a:gd name="connsiteY2" fmla="*/ 5120589 h 5120589"/>
              <a:gd name="connsiteX3" fmla="*/ 5986 w 2078862"/>
              <a:gd name="connsiteY3" fmla="*/ 0 h 5120589"/>
              <a:gd name="connsiteX0" fmla="*/ 2400 w 2075276"/>
              <a:gd name="connsiteY0" fmla="*/ 0 h 5108866"/>
              <a:gd name="connsiteX1" fmla="*/ 2075276 w 2075276"/>
              <a:gd name="connsiteY1" fmla="*/ 7597 h 5108866"/>
              <a:gd name="connsiteX2" fmla="*/ 1606 w 2075276"/>
              <a:gd name="connsiteY2" fmla="*/ 5108866 h 5108866"/>
              <a:gd name="connsiteX3" fmla="*/ 2400 w 2075276"/>
              <a:gd name="connsiteY3" fmla="*/ 0 h 5108866"/>
              <a:gd name="connsiteX0" fmla="*/ 5987 w 2078863"/>
              <a:gd name="connsiteY0" fmla="*/ 0 h 5136220"/>
              <a:gd name="connsiteX1" fmla="*/ 2078863 w 2078863"/>
              <a:gd name="connsiteY1" fmla="*/ 7597 h 5136220"/>
              <a:gd name="connsiteX2" fmla="*/ 1285 w 2078863"/>
              <a:gd name="connsiteY2" fmla="*/ 5136220 h 5136220"/>
              <a:gd name="connsiteX3" fmla="*/ 5987 w 2078863"/>
              <a:gd name="connsiteY3" fmla="*/ 0 h 5136220"/>
              <a:gd name="connsiteX0" fmla="*/ 5987 w 2086007"/>
              <a:gd name="connsiteY0" fmla="*/ 0 h 5136220"/>
              <a:gd name="connsiteX1" fmla="*/ 2086007 w 2086007"/>
              <a:gd name="connsiteY1" fmla="*/ 2835 h 5136220"/>
              <a:gd name="connsiteX2" fmla="*/ 1285 w 2086007"/>
              <a:gd name="connsiteY2" fmla="*/ 5136220 h 5136220"/>
              <a:gd name="connsiteX3" fmla="*/ 5987 w 2086007"/>
              <a:gd name="connsiteY3" fmla="*/ 0 h 51362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086007" h="5136220">
                <a:moveTo>
                  <a:pt x="5987" y="0"/>
                </a:moveTo>
                <a:lnTo>
                  <a:pt x="2086007" y="2835"/>
                </a:lnTo>
                <a:cubicBezTo>
                  <a:pt x="1539369" y="1333330"/>
                  <a:pt x="547923" y="3805725"/>
                  <a:pt x="1285" y="5136220"/>
                </a:cubicBezTo>
                <a:cubicBezTo>
                  <a:pt x="-4577" y="3790997"/>
                  <a:pt x="11849" y="1354016"/>
                  <a:pt x="5987" y="0"/>
                </a:cubicBezTo>
                <a:close/>
              </a:path>
            </a:pathLst>
          </a:custGeom>
          <a:gradFill>
            <a:gsLst>
              <a:gs pos="0">
                <a:srgbClr val="648C1A"/>
              </a:gs>
              <a:gs pos="100000">
                <a:schemeClr val="accent2"/>
              </a:gs>
            </a:gsLst>
            <a:lin ang="108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</p:spTree>
    <p:extLst>
      <p:ext uri="{BB962C8B-B14F-4D97-AF65-F5344CB8AC3E}">
        <p14:creationId xmlns:p14="http://schemas.microsoft.com/office/powerpoint/2010/main" val="27939269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66" r:id="rId1"/>
    <p:sldLayoutId id="2147483967" r:id="rId2"/>
    <p:sldLayoutId id="2147483970" r:id="rId3"/>
  </p:sldLayoutIdLst>
  <p:hf sldNum="0" hdr="0" dt="0"/>
  <p:txStyles>
    <p:titleStyle>
      <a:lvl1pPr marL="0" indent="0" algn="l" rtl="0" eaLnBrk="1" fontAlgn="base" hangingPunct="1">
        <a:spcBef>
          <a:spcPct val="0"/>
        </a:spcBef>
        <a:spcAft>
          <a:spcPct val="0"/>
        </a:spcAft>
        <a:defRPr lang="en-US" sz="2200" b="0" kern="1200" cap="all" baseline="0" dirty="0">
          <a:solidFill>
            <a:schemeClr val="accent1"/>
          </a:solidFill>
          <a:effectLst/>
          <a:latin typeface="+mn-lt"/>
          <a:ea typeface="+mj-ea"/>
          <a:cs typeface="+mj-cs"/>
        </a:defRPr>
      </a:lvl1pPr>
      <a:lvl2pPr marL="455613" indent="-455613" algn="l" rtl="0" eaLnBrk="1" fontAlgn="base" hangingPunct="1">
        <a:spcBef>
          <a:spcPct val="0"/>
        </a:spcBef>
        <a:spcAft>
          <a:spcPct val="0"/>
        </a:spcAft>
        <a:defRPr sz="3200">
          <a:solidFill>
            <a:schemeClr val="bg1"/>
          </a:solidFill>
          <a:latin typeface="Arial Narrow" pitchFamily="34" charset="0"/>
        </a:defRPr>
      </a:lvl2pPr>
      <a:lvl3pPr marL="455613" indent="-455613" algn="l" rtl="0" eaLnBrk="1" fontAlgn="base" hangingPunct="1">
        <a:spcBef>
          <a:spcPct val="0"/>
        </a:spcBef>
        <a:spcAft>
          <a:spcPct val="0"/>
        </a:spcAft>
        <a:defRPr sz="3200">
          <a:solidFill>
            <a:schemeClr val="bg1"/>
          </a:solidFill>
          <a:latin typeface="Arial Narrow" pitchFamily="34" charset="0"/>
        </a:defRPr>
      </a:lvl3pPr>
      <a:lvl4pPr marL="455613" indent="-455613" algn="l" rtl="0" eaLnBrk="1" fontAlgn="base" hangingPunct="1">
        <a:spcBef>
          <a:spcPct val="0"/>
        </a:spcBef>
        <a:spcAft>
          <a:spcPct val="0"/>
        </a:spcAft>
        <a:defRPr sz="3200">
          <a:solidFill>
            <a:schemeClr val="bg1"/>
          </a:solidFill>
          <a:latin typeface="Arial Narrow" pitchFamily="34" charset="0"/>
        </a:defRPr>
      </a:lvl4pPr>
      <a:lvl5pPr marL="455613" indent="-455613" algn="l" rtl="0" eaLnBrk="1" fontAlgn="base" hangingPunct="1">
        <a:spcBef>
          <a:spcPct val="0"/>
        </a:spcBef>
        <a:spcAft>
          <a:spcPct val="0"/>
        </a:spcAft>
        <a:defRPr sz="3200">
          <a:solidFill>
            <a:schemeClr val="bg1"/>
          </a:solidFill>
          <a:latin typeface="Arial Narrow" pitchFamily="34" charset="0"/>
        </a:defRPr>
      </a:lvl5pPr>
      <a:lvl6pPr marL="103505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Palatino Linotype" pitchFamily="18" charset="0"/>
        </a:defRPr>
      </a:lvl6pPr>
      <a:lvl7pPr marL="149225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Palatino Linotype" pitchFamily="18" charset="0"/>
        </a:defRPr>
      </a:lvl7pPr>
      <a:lvl8pPr marL="194945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Palatino Linotype" pitchFamily="18" charset="0"/>
        </a:defRPr>
      </a:lvl8pPr>
      <a:lvl9pPr marL="240665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Palatino Linotype" pitchFamily="18" charset="0"/>
        </a:defRPr>
      </a:lvl9pPr>
    </p:titleStyle>
    <p:bodyStyle>
      <a:lvl1pPr marL="230188" indent="-230188" algn="l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SzPct val="100000"/>
        <a:buFont typeface="Arial" panose="020B0604020202020204" pitchFamily="34" charset="0"/>
        <a:buChar char="•"/>
        <a:defRPr lang="en-US" sz="1800" kern="1200" dirty="0">
          <a:solidFill>
            <a:schemeClr val="accent1"/>
          </a:solidFill>
          <a:latin typeface="+mj-lt"/>
          <a:ea typeface="+mn-ea"/>
          <a:cs typeface="+mn-cs"/>
        </a:defRPr>
      </a:lvl1pPr>
      <a:lvl2pPr marL="460375" indent="-223838" algn="l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SzPct val="100000"/>
        <a:buFont typeface="Arial" panose="020B0604020202020204" pitchFamily="34" charset="0"/>
        <a:buChar char="-"/>
        <a:defRPr lang="en-US" sz="1600" kern="1200" dirty="0">
          <a:solidFill>
            <a:schemeClr val="accent1"/>
          </a:solidFill>
          <a:latin typeface="+mj-lt"/>
          <a:ea typeface="+mn-ea"/>
          <a:cs typeface="+mn-cs"/>
        </a:defRPr>
      </a:lvl2pPr>
      <a:lvl3pPr marL="1027113" indent="-344488" algn="l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SzPct val="100000"/>
        <a:buFont typeface="Arial" panose="020B0604020202020204" pitchFamily="34" charset="0"/>
        <a:buChar char="•"/>
        <a:defRPr lang="en-US" sz="1600" kern="1200" dirty="0">
          <a:solidFill>
            <a:schemeClr val="accent1"/>
          </a:solidFill>
          <a:latin typeface="+mj-lt"/>
          <a:ea typeface="+mn-ea"/>
          <a:cs typeface="+mn-cs"/>
        </a:defRPr>
      </a:lvl3pPr>
      <a:lvl4pPr marL="1373188" indent="-344488" algn="l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SzPct val="100000"/>
        <a:buFont typeface="Palatino Linotype" pitchFamily="18" charset="0"/>
        <a:buChar char="◦"/>
        <a:defRPr lang="en-US" sz="1600" kern="1200" dirty="0">
          <a:solidFill>
            <a:schemeClr val="accent1"/>
          </a:solidFill>
          <a:latin typeface="+mj-lt"/>
          <a:ea typeface="+mn-ea"/>
          <a:cs typeface="+mn-cs"/>
        </a:defRPr>
      </a:lvl4pPr>
      <a:lvl5pPr marL="1717675" indent="-342900" algn="l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SzPct val="100000"/>
        <a:buFont typeface="Palatino Linotype" pitchFamily="18" charset="0"/>
        <a:buChar char="▫"/>
        <a:defRPr lang="en-US" sz="1600" kern="1200" dirty="0">
          <a:solidFill>
            <a:schemeClr val="accent1"/>
          </a:solidFill>
          <a:latin typeface="+mj-lt"/>
          <a:ea typeface="+mn-ea"/>
          <a:cs typeface="+mn-cs"/>
        </a:defRPr>
      </a:lvl5pPr>
      <a:lvl6pPr marL="2174875" indent="-342900" algn="l" rtl="0" eaLnBrk="1" fontAlgn="base" hangingPunct="1">
        <a:spcBef>
          <a:spcPct val="20000"/>
        </a:spcBef>
        <a:spcAft>
          <a:spcPct val="0"/>
        </a:spcAft>
        <a:buSzPct val="125000"/>
        <a:buFont typeface="Palatino Linotype" pitchFamily="18" charset="0"/>
        <a:buChar char="▫"/>
        <a:defRPr>
          <a:solidFill>
            <a:schemeClr val="tx1"/>
          </a:solidFill>
          <a:latin typeface="+mn-lt"/>
        </a:defRPr>
      </a:lvl6pPr>
      <a:lvl7pPr marL="2632075" indent="-342900" algn="l" rtl="0" eaLnBrk="1" fontAlgn="base" hangingPunct="1">
        <a:spcBef>
          <a:spcPct val="20000"/>
        </a:spcBef>
        <a:spcAft>
          <a:spcPct val="0"/>
        </a:spcAft>
        <a:buSzPct val="125000"/>
        <a:buFont typeface="Palatino Linotype" pitchFamily="18" charset="0"/>
        <a:buChar char="▫"/>
        <a:defRPr>
          <a:solidFill>
            <a:schemeClr val="tx1"/>
          </a:solidFill>
          <a:latin typeface="+mn-lt"/>
        </a:defRPr>
      </a:lvl7pPr>
      <a:lvl8pPr marL="3089275" indent="-342900" algn="l" rtl="0" eaLnBrk="1" fontAlgn="base" hangingPunct="1">
        <a:spcBef>
          <a:spcPct val="20000"/>
        </a:spcBef>
        <a:spcAft>
          <a:spcPct val="0"/>
        </a:spcAft>
        <a:buSzPct val="125000"/>
        <a:buFont typeface="Palatino Linotype" pitchFamily="18" charset="0"/>
        <a:buChar char="▫"/>
        <a:defRPr>
          <a:solidFill>
            <a:schemeClr val="tx1"/>
          </a:solidFill>
          <a:latin typeface="+mn-lt"/>
        </a:defRPr>
      </a:lvl8pPr>
      <a:lvl9pPr marL="3546475" indent="-342900" algn="l" rtl="0" eaLnBrk="1" fontAlgn="base" hangingPunct="1">
        <a:spcBef>
          <a:spcPct val="20000"/>
        </a:spcBef>
        <a:spcAft>
          <a:spcPct val="0"/>
        </a:spcAft>
        <a:buSzPct val="125000"/>
        <a:buFont typeface="Palatino Linotype" pitchFamily="18" charset="0"/>
        <a:buChar char="▫"/>
        <a:defRPr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3696293120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46" name="think-cell Slide" r:id="rId8" imgW="216" imgH="216" progId="TCLayout.ActiveDocument.1">
                  <p:embed/>
                </p:oleObj>
              </mc:Choice>
              <mc:Fallback>
                <p:oleObj name="think-cell Slide" r:id="rId8" imgW="216" imgH="21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Text Placeholder 18"/>
          <p:cNvSpPr txBox="1">
            <a:spLocks/>
          </p:cNvSpPr>
          <p:nvPr userDrawn="1"/>
        </p:nvSpPr>
        <p:spPr>
          <a:xfrm>
            <a:off x="412682" y="6370117"/>
            <a:ext cx="7770501" cy="205345"/>
          </a:xfrm>
          <a:prstGeom prst="rect">
            <a:avLst/>
          </a:prstGeom>
        </p:spPr>
        <p:txBody>
          <a:bodyPr vert="horz"/>
          <a:lstStyle>
            <a:lvl1pPr marL="0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 baseline="0">
                <a:solidFill>
                  <a:srgbClr val="898C8F"/>
                </a:solidFill>
                <a:latin typeface="+mj-lt"/>
                <a:ea typeface="+mn-ea"/>
                <a:cs typeface="+mn-cs"/>
              </a:defRPr>
            </a:lvl1pPr>
            <a:lvl2pPr marL="457178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2pPr>
            <a:lvl3pPr marL="914354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3pPr>
            <a:lvl4pPr marL="1371532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4pPr>
            <a:lvl5pPr marL="1828709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5pPr>
            <a:lvl6pPr marL="21748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6pPr>
            <a:lvl7pPr marL="26320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7pPr>
            <a:lvl8pPr marL="30892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8pPr>
            <a:lvl9pPr marL="35464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 sz="900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/ </a:t>
            </a:r>
            <a:r>
              <a:rPr lang="en-US" sz="900" kern="1200" cap="all" normalizeH="0" baseline="0" dirty="0">
                <a:solidFill>
                  <a:schemeClr val="accent1">
                    <a:lumMod val="60000"/>
                    <a:lumOff val="40000"/>
                  </a:schemeClr>
                </a:solidFill>
                <a:latin typeface="+mj-lt"/>
                <a:ea typeface="+mn-ea"/>
                <a:cs typeface="+mn-cs"/>
              </a:rPr>
              <a:t>©2019 </a:t>
            </a:r>
            <a:r>
              <a:rPr lang="en-US" sz="900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Navigant – A </a:t>
            </a:r>
            <a:r>
              <a:rPr lang="en-US" sz="900" dirty="0" err="1">
                <a:solidFill>
                  <a:schemeClr val="accent1">
                    <a:lumMod val="60000"/>
                    <a:lumOff val="40000"/>
                  </a:schemeClr>
                </a:solidFill>
              </a:rPr>
              <a:t>Guidehouse</a:t>
            </a:r>
            <a:r>
              <a:rPr lang="en-US" sz="900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 Company Consulting,</a:t>
            </a:r>
            <a:r>
              <a:rPr lang="en-US" sz="900" baseline="0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 Inc. All rights Reserved</a:t>
            </a:r>
            <a:endParaRPr lang="en-US" sz="900" dirty="0">
              <a:solidFill>
                <a:schemeClr val="accent1">
                  <a:lumMod val="60000"/>
                  <a:lumOff val="40000"/>
                </a:schemeClr>
              </a:solidFill>
            </a:endParaRPr>
          </a:p>
        </p:txBody>
      </p:sp>
      <p:cxnSp>
        <p:nvCxnSpPr>
          <p:cNvPr id="22" name="Straight Connector 21"/>
          <p:cNvCxnSpPr/>
          <p:nvPr userDrawn="1"/>
        </p:nvCxnSpPr>
        <p:spPr>
          <a:xfrm>
            <a:off x="304802" y="6250077"/>
            <a:ext cx="11592985" cy="0"/>
          </a:xfrm>
          <a:prstGeom prst="line">
            <a:avLst/>
          </a:prstGeom>
          <a:ln w="9525">
            <a:solidFill>
              <a:srgbClr val="555759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4" name="Text Placeholder 18"/>
          <p:cNvSpPr txBox="1">
            <a:spLocks/>
          </p:cNvSpPr>
          <p:nvPr userDrawn="1"/>
        </p:nvSpPr>
        <p:spPr>
          <a:xfrm>
            <a:off x="182020" y="6365442"/>
            <a:ext cx="478315" cy="231169"/>
          </a:xfrm>
          <a:prstGeom prst="rect">
            <a:avLst/>
          </a:prstGeom>
        </p:spPr>
        <p:txBody>
          <a:bodyPr vert="horz"/>
          <a:lstStyle>
            <a:lvl1pPr marL="0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 baseline="0">
                <a:solidFill>
                  <a:srgbClr val="898C8F"/>
                </a:solidFill>
                <a:latin typeface="+mj-lt"/>
                <a:ea typeface="+mn-ea"/>
                <a:cs typeface="+mn-cs"/>
              </a:defRPr>
            </a:lvl1pPr>
            <a:lvl2pPr marL="457178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2pPr>
            <a:lvl3pPr marL="914354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3pPr>
            <a:lvl4pPr marL="1371532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4pPr>
            <a:lvl5pPr marL="1828709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5pPr>
            <a:lvl6pPr marL="21748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6pPr>
            <a:lvl7pPr marL="26320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7pPr>
            <a:lvl8pPr marL="30892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8pPr>
            <a:lvl9pPr marL="35464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l"/>
            <a:fld id="{C0D4A90D-707C-4CFA-8F87-17CF45DE2B45}" type="slidenum">
              <a:rPr lang="en-US" sz="900" smtClean="0">
                <a:solidFill>
                  <a:srgbClr val="95D600"/>
                </a:solidFill>
              </a:rPr>
              <a:pPr algn="l"/>
              <a:t>‹#›</a:t>
            </a:fld>
            <a:endParaRPr lang="en-US" sz="900" dirty="0"/>
          </a:p>
        </p:txBody>
      </p:sp>
      <p:sp>
        <p:nvSpPr>
          <p:cNvPr id="1037" name="Rectangle 14"/>
          <p:cNvSpPr>
            <a:spLocks noGrp="1" noChangeArrowheads="1"/>
          </p:cNvSpPr>
          <p:nvPr userDrawn="1">
            <p:ph type="body" idx="1"/>
          </p:nvPr>
        </p:nvSpPr>
        <p:spPr bwMode="auto">
          <a:xfrm>
            <a:off x="2772747" y="1262358"/>
            <a:ext cx="9142163" cy="49066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4" name="Straight Connector 3"/>
          <p:cNvCxnSpPr/>
          <p:nvPr userDrawn="1"/>
        </p:nvCxnSpPr>
        <p:spPr bwMode="auto">
          <a:xfrm flipH="1">
            <a:off x="0" y="6302465"/>
            <a:ext cx="12192000" cy="0"/>
          </a:xfrm>
          <a:prstGeom prst="line">
            <a:avLst/>
          </a:prstGeom>
          <a:solidFill>
            <a:schemeClr val="accent1"/>
          </a:solidFill>
          <a:ln w="19050" cap="flat" cmpd="dbl" algn="ctr">
            <a:noFill/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07280" y="6400190"/>
            <a:ext cx="1303209" cy="168518"/>
          </a:xfrm>
          <a:prstGeom prst="rect">
            <a:avLst/>
          </a:prstGeom>
        </p:spPr>
      </p:pic>
      <p:cxnSp>
        <p:nvCxnSpPr>
          <p:cNvPr id="5" name="Straight Connector 4"/>
          <p:cNvCxnSpPr/>
          <p:nvPr userDrawn="1"/>
        </p:nvCxnSpPr>
        <p:spPr bwMode="auto">
          <a:xfrm>
            <a:off x="2772747" y="1022438"/>
            <a:ext cx="9419253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1" name="Freeform 10"/>
          <p:cNvSpPr/>
          <p:nvPr userDrawn="1"/>
        </p:nvSpPr>
        <p:spPr>
          <a:xfrm>
            <a:off x="1" y="1"/>
            <a:ext cx="2781343" cy="5136220"/>
          </a:xfrm>
          <a:custGeom>
            <a:avLst/>
            <a:gdLst>
              <a:gd name="connsiteX0" fmla="*/ 0 w 1661746"/>
              <a:gd name="connsiteY0" fmla="*/ 0 h 4044462"/>
              <a:gd name="connsiteX1" fmla="*/ 1661746 w 1661746"/>
              <a:gd name="connsiteY1" fmla="*/ 0 h 4044462"/>
              <a:gd name="connsiteX2" fmla="*/ 17585 w 1661746"/>
              <a:gd name="connsiteY2" fmla="*/ 4044462 h 4044462"/>
              <a:gd name="connsiteX3" fmla="*/ 0 w 1661746"/>
              <a:gd name="connsiteY3" fmla="*/ 0 h 4044462"/>
              <a:gd name="connsiteX0" fmla="*/ 0 w 1661746"/>
              <a:gd name="connsiteY0" fmla="*/ 0 h 4039867"/>
              <a:gd name="connsiteX1" fmla="*/ 1661746 w 1661746"/>
              <a:gd name="connsiteY1" fmla="*/ 0 h 4039867"/>
              <a:gd name="connsiteX2" fmla="*/ 12990 w 1661746"/>
              <a:gd name="connsiteY2" fmla="*/ 4039867 h 4039867"/>
              <a:gd name="connsiteX3" fmla="*/ 0 w 1661746"/>
              <a:gd name="connsiteY3" fmla="*/ 0 h 4039867"/>
              <a:gd name="connsiteX0" fmla="*/ 170948 w 1648895"/>
              <a:gd name="connsiteY0" fmla="*/ 284889 h 4039867"/>
              <a:gd name="connsiteX1" fmla="*/ 1648895 w 1648895"/>
              <a:gd name="connsiteY1" fmla="*/ 0 h 4039867"/>
              <a:gd name="connsiteX2" fmla="*/ 139 w 1648895"/>
              <a:gd name="connsiteY2" fmla="*/ 4039867 h 4039867"/>
              <a:gd name="connsiteX3" fmla="*/ 170948 w 1648895"/>
              <a:gd name="connsiteY3" fmla="*/ 284889 h 4039867"/>
              <a:gd name="connsiteX0" fmla="*/ 170948 w 1653490"/>
              <a:gd name="connsiteY0" fmla="*/ 225154 h 3980132"/>
              <a:gd name="connsiteX1" fmla="*/ 1653490 w 1653490"/>
              <a:gd name="connsiteY1" fmla="*/ 0 h 3980132"/>
              <a:gd name="connsiteX2" fmla="*/ 139 w 1653490"/>
              <a:gd name="connsiteY2" fmla="*/ 3980132 h 3980132"/>
              <a:gd name="connsiteX3" fmla="*/ 170948 w 1653490"/>
              <a:gd name="connsiteY3" fmla="*/ 225154 h 3980132"/>
              <a:gd name="connsiteX0" fmla="*/ 170948 w 1658085"/>
              <a:gd name="connsiteY0" fmla="*/ 284889 h 4039867"/>
              <a:gd name="connsiteX1" fmla="*/ 1658085 w 1658085"/>
              <a:gd name="connsiteY1" fmla="*/ 0 h 4039867"/>
              <a:gd name="connsiteX2" fmla="*/ 139 w 1658085"/>
              <a:gd name="connsiteY2" fmla="*/ 4039867 h 4039867"/>
              <a:gd name="connsiteX3" fmla="*/ 170948 w 1658085"/>
              <a:gd name="connsiteY3" fmla="*/ 284889 h 4039867"/>
              <a:gd name="connsiteX0" fmla="*/ 0 w 1666341"/>
              <a:gd name="connsiteY0" fmla="*/ 4595 h 4039867"/>
              <a:gd name="connsiteX1" fmla="*/ 1666341 w 1666341"/>
              <a:gd name="connsiteY1" fmla="*/ 0 h 4039867"/>
              <a:gd name="connsiteX2" fmla="*/ 8395 w 1666341"/>
              <a:gd name="connsiteY2" fmla="*/ 4039867 h 4039867"/>
              <a:gd name="connsiteX3" fmla="*/ 0 w 1666341"/>
              <a:gd name="connsiteY3" fmla="*/ 4595 h 4039867"/>
              <a:gd name="connsiteX0" fmla="*/ 0 w 1666341"/>
              <a:gd name="connsiteY0" fmla="*/ 4595 h 4035272"/>
              <a:gd name="connsiteX1" fmla="*/ 1666341 w 1666341"/>
              <a:gd name="connsiteY1" fmla="*/ 0 h 4035272"/>
              <a:gd name="connsiteX2" fmla="*/ 8395 w 1666341"/>
              <a:gd name="connsiteY2" fmla="*/ 4035272 h 4035272"/>
              <a:gd name="connsiteX3" fmla="*/ 0 w 1666341"/>
              <a:gd name="connsiteY3" fmla="*/ 4595 h 4035272"/>
              <a:gd name="connsiteX0" fmla="*/ 56296 w 1658307"/>
              <a:gd name="connsiteY0" fmla="*/ 114874 h 4035272"/>
              <a:gd name="connsiteX1" fmla="*/ 1658307 w 1658307"/>
              <a:gd name="connsiteY1" fmla="*/ 0 h 4035272"/>
              <a:gd name="connsiteX2" fmla="*/ 361 w 1658307"/>
              <a:gd name="connsiteY2" fmla="*/ 4035272 h 4035272"/>
              <a:gd name="connsiteX3" fmla="*/ 56296 w 1658307"/>
              <a:gd name="connsiteY3" fmla="*/ 114874 h 4035272"/>
              <a:gd name="connsiteX0" fmla="*/ 2400 w 1659551"/>
              <a:gd name="connsiteY0" fmla="*/ 9190 h 4035272"/>
              <a:gd name="connsiteX1" fmla="*/ 1659551 w 1659551"/>
              <a:gd name="connsiteY1" fmla="*/ 0 h 4035272"/>
              <a:gd name="connsiteX2" fmla="*/ 1605 w 1659551"/>
              <a:gd name="connsiteY2" fmla="*/ 4035272 h 4035272"/>
              <a:gd name="connsiteX3" fmla="*/ 2400 w 1659551"/>
              <a:gd name="connsiteY3" fmla="*/ 9190 h 4035272"/>
              <a:gd name="connsiteX0" fmla="*/ 146 w 1659873"/>
              <a:gd name="connsiteY0" fmla="*/ 6614 h 4035272"/>
              <a:gd name="connsiteX1" fmla="*/ 1659873 w 1659873"/>
              <a:gd name="connsiteY1" fmla="*/ 0 h 4035272"/>
              <a:gd name="connsiteX2" fmla="*/ 1927 w 1659873"/>
              <a:gd name="connsiteY2" fmla="*/ 4035272 h 4035272"/>
              <a:gd name="connsiteX3" fmla="*/ 146 w 1659873"/>
              <a:gd name="connsiteY3" fmla="*/ 6614 h 4035272"/>
              <a:gd name="connsiteX0" fmla="*/ 146 w 1649570"/>
              <a:gd name="connsiteY0" fmla="*/ 0 h 4028658"/>
              <a:gd name="connsiteX1" fmla="*/ 1649570 w 1649570"/>
              <a:gd name="connsiteY1" fmla="*/ 11416 h 4028658"/>
              <a:gd name="connsiteX2" fmla="*/ 1927 w 1649570"/>
              <a:gd name="connsiteY2" fmla="*/ 4028658 h 4028658"/>
              <a:gd name="connsiteX3" fmla="*/ 146 w 1649570"/>
              <a:gd name="connsiteY3" fmla="*/ 0 h 4028658"/>
              <a:gd name="connsiteX0" fmla="*/ 57814 w 1647996"/>
              <a:gd name="connsiteY0" fmla="*/ 109645 h 4017242"/>
              <a:gd name="connsiteX1" fmla="*/ 1647996 w 1647996"/>
              <a:gd name="connsiteY1" fmla="*/ 0 h 4017242"/>
              <a:gd name="connsiteX2" fmla="*/ 353 w 1647996"/>
              <a:gd name="connsiteY2" fmla="*/ 4017242 h 4017242"/>
              <a:gd name="connsiteX3" fmla="*/ 57814 w 1647996"/>
              <a:gd name="connsiteY3" fmla="*/ 109645 h 4017242"/>
              <a:gd name="connsiteX0" fmla="*/ 52689 w 1648022"/>
              <a:gd name="connsiteY0" fmla="*/ 65857 h 4017242"/>
              <a:gd name="connsiteX1" fmla="*/ 1648022 w 1648022"/>
              <a:gd name="connsiteY1" fmla="*/ 0 h 4017242"/>
              <a:gd name="connsiteX2" fmla="*/ 379 w 1648022"/>
              <a:gd name="connsiteY2" fmla="*/ 4017242 h 4017242"/>
              <a:gd name="connsiteX3" fmla="*/ 52689 w 1648022"/>
              <a:gd name="connsiteY3" fmla="*/ 65857 h 4017242"/>
              <a:gd name="connsiteX0" fmla="*/ 9598 w 1648720"/>
              <a:gd name="connsiteY0" fmla="*/ 0 h 4020931"/>
              <a:gd name="connsiteX1" fmla="*/ 1648720 w 1648720"/>
              <a:gd name="connsiteY1" fmla="*/ 3689 h 4020931"/>
              <a:gd name="connsiteX2" fmla="*/ 1077 w 1648720"/>
              <a:gd name="connsiteY2" fmla="*/ 4020931 h 4020931"/>
              <a:gd name="connsiteX3" fmla="*/ 9598 w 1648720"/>
              <a:gd name="connsiteY3" fmla="*/ 0 h 4020931"/>
              <a:gd name="connsiteX0" fmla="*/ 12067 w 1651189"/>
              <a:gd name="connsiteY0" fmla="*/ 0 h 4023507"/>
              <a:gd name="connsiteX1" fmla="*/ 1651189 w 1651189"/>
              <a:gd name="connsiteY1" fmla="*/ 3689 h 4023507"/>
              <a:gd name="connsiteX2" fmla="*/ 971 w 1651189"/>
              <a:gd name="connsiteY2" fmla="*/ 4023507 h 4023507"/>
              <a:gd name="connsiteX3" fmla="*/ 12067 w 1651189"/>
              <a:gd name="connsiteY3" fmla="*/ 0 h 4023507"/>
              <a:gd name="connsiteX0" fmla="*/ 0 w 1639122"/>
              <a:gd name="connsiteY0" fmla="*/ 0 h 4023507"/>
              <a:gd name="connsiteX1" fmla="*/ 1639122 w 1639122"/>
              <a:gd name="connsiteY1" fmla="*/ 3689 h 4023507"/>
              <a:gd name="connsiteX2" fmla="*/ 6935 w 1639122"/>
              <a:gd name="connsiteY2" fmla="*/ 4023507 h 4023507"/>
              <a:gd name="connsiteX3" fmla="*/ 0 w 1639122"/>
              <a:gd name="connsiteY3" fmla="*/ 0 h 4023507"/>
              <a:gd name="connsiteX0" fmla="*/ 17059 w 1656181"/>
              <a:gd name="connsiteY0" fmla="*/ 0 h 4015780"/>
              <a:gd name="connsiteX1" fmla="*/ 1656181 w 1656181"/>
              <a:gd name="connsiteY1" fmla="*/ 3689 h 4015780"/>
              <a:gd name="connsiteX2" fmla="*/ 812 w 1656181"/>
              <a:gd name="connsiteY2" fmla="*/ 4015780 h 4015780"/>
              <a:gd name="connsiteX3" fmla="*/ 17059 w 1656181"/>
              <a:gd name="connsiteY3" fmla="*/ 0 h 4015780"/>
              <a:gd name="connsiteX0" fmla="*/ 0 w 1639122"/>
              <a:gd name="connsiteY0" fmla="*/ 0 h 3899870"/>
              <a:gd name="connsiteX1" fmla="*/ 1639122 w 1639122"/>
              <a:gd name="connsiteY1" fmla="*/ 3689 h 3899870"/>
              <a:gd name="connsiteX2" fmla="*/ 73905 w 1639122"/>
              <a:gd name="connsiteY2" fmla="*/ 3899870 h 3899870"/>
              <a:gd name="connsiteX3" fmla="*/ 0 w 1639122"/>
              <a:gd name="connsiteY3" fmla="*/ 0 h 3899870"/>
              <a:gd name="connsiteX0" fmla="*/ 0 w 1639122"/>
              <a:gd name="connsiteY0" fmla="*/ 0 h 3987447"/>
              <a:gd name="connsiteX1" fmla="*/ 1639122 w 1639122"/>
              <a:gd name="connsiteY1" fmla="*/ 3689 h 3987447"/>
              <a:gd name="connsiteX2" fmla="*/ 6935 w 1639122"/>
              <a:gd name="connsiteY2" fmla="*/ 3987447 h 3987447"/>
              <a:gd name="connsiteX3" fmla="*/ 0 w 1639122"/>
              <a:gd name="connsiteY3" fmla="*/ 0 h 3987447"/>
              <a:gd name="connsiteX0" fmla="*/ 144 w 1639266"/>
              <a:gd name="connsiteY0" fmla="*/ 0 h 3987447"/>
              <a:gd name="connsiteX1" fmla="*/ 1639266 w 1639266"/>
              <a:gd name="connsiteY1" fmla="*/ 3689 h 3987447"/>
              <a:gd name="connsiteX2" fmla="*/ 1927 w 1639266"/>
              <a:gd name="connsiteY2" fmla="*/ 3987447 h 3987447"/>
              <a:gd name="connsiteX3" fmla="*/ 144 w 1639266"/>
              <a:gd name="connsiteY3" fmla="*/ 0 h 3987447"/>
              <a:gd name="connsiteX0" fmla="*/ 2397 w 1641519"/>
              <a:gd name="connsiteY0" fmla="*/ 0 h 3995174"/>
              <a:gd name="connsiteX1" fmla="*/ 1641519 w 1641519"/>
              <a:gd name="connsiteY1" fmla="*/ 3689 h 3995174"/>
              <a:gd name="connsiteX2" fmla="*/ 1605 w 1641519"/>
              <a:gd name="connsiteY2" fmla="*/ 3995174 h 3995174"/>
              <a:gd name="connsiteX3" fmla="*/ 2397 w 1641519"/>
              <a:gd name="connsiteY3" fmla="*/ 0 h 3995174"/>
              <a:gd name="connsiteX0" fmla="*/ 9681 w 1648803"/>
              <a:gd name="connsiteY0" fmla="*/ 0 h 5116681"/>
              <a:gd name="connsiteX1" fmla="*/ 1648803 w 1648803"/>
              <a:gd name="connsiteY1" fmla="*/ 3689 h 5116681"/>
              <a:gd name="connsiteX2" fmla="*/ 1073 w 1648803"/>
              <a:gd name="connsiteY2" fmla="*/ 5116681 h 5116681"/>
              <a:gd name="connsiteX3" fmla="*/ 9681 w 1648803"/>
              <a:gd name="connsiteY3" fmla="*/ 0 h 5116681"/>
              <a:gd name="connsiteX0" fmla="*/ 9681 w 2078650"/>
              <a:gd name="connsiteY0" fmla="*/ 0 h 5116681"/>
              <a:gd name="connsiteX1" fmla="*/ 2078650 w 2078650"/>
              <a:gd name="connsiteY1" fmla="*/ 3689 h 5116681"/>
              <a:gd name="connsiteX2" fmla="*/ 1073 w 2078650"/>
              <a:gd name="connsiteY2" fmla="*/ 5116681 h 5116681"/>
              <a:gd name="connsiteX3" fmla="*/ 9681 w 2078650"/>
              <a:gd name="connsiteY3" fmla="*/ 0 h 5116681"/>
              <a:gd name="connsiteX0" fmla="*/ 5986 w 2078862"/>
              <a:gd name="connsiteY0" fmla="*/ 0 h 5120589"/>
              <a:gd name="connsiteX1" fmla="*/ 2078862 w 2078862"/>
              <a:gd name="connsiteY1" fmla="*/ 7597 h 5120589"/>
              <a:gd name="connsiteX2" fmla="*/ 1285 w 2078862"/>
              <a:gd name="connsiteY2" fmla="*/ 5120589 h 5120589"/>
              <a:gd name="connsiteX3" fmla="*/ 5986 w 2078862"/>
              <a:gd name="connsiteY3" fmla="*/ 0 h 5120589"/>
              <a:gd name="connsiteX0" fmla="*/ 2400 w 2075276"/>
              <a:gd name="connsiteY0" fmla="*/ 0 h 5108866"/>
              <a:gd name="connsiteX1" fmla="*/ 2075276 w 2075276"/>
              <a:gd name="connsiteY1" fmla="*/ 7597 h 5108866"/>
              <a:gd name="connsiteX2" fmla="*/ 1606 w 2075276"/>
              <a:gd name="connsiteY2" fmla="*/ 5108866 h 5108866"/>
              <a:gd name="connsiteX3" fmla="*/ 2400 w 2075276"/>
              <a:gd name="connsiteY3" fmla="*/ 0 h 5108866"/>
              <a:gd name="connsiteX0" fmla="*/ 5987 w 2078863"/>
              <a:gd name="connsiteY0" fmla="*/ 0 h 5136220"/>
              <a:gd name="connsiteX1" fmla="*/ 2078863 w 2078863"/>
              <a:gd name="connsiteY1" fmla="*/ 7597 h 5136220"/>
              <a:gd name="connsiteX2" fmla="*/ 1285 w 2078863"/>
              <a:gd name="connsiteY2" fmla="*/ 5136220 h 5136220"/>
              <a:gd name="connsiteX3" fmla="*/ 5987 w 2078863"/>
              <a:gd name="connsiteY3" fmla="*/ 0 h 5136220"/>
              <a:gd name="connsiteX0" fmla="*/ 5987 w 2086007"/>
              <a:gd name="connsiteY0" fmla="*/ 0 h 5136220"/>
              <a:gd name="connsiteX1" fmla="*/ 2086007 w 2086007"/>
              <a:gd name="connsiteY1" fmla="*/ 2835 h 5136220"/>
              <a:gd name="connsiteX2" fmla="*/ 1285 w 2086007"/>
              <a:gd name="connsiteY2" fmla="*/ 5136220 h 5136220"/>
              <a:gd name="connsiteX3" fmla="*/ 5987 w 2086007"/>
              <a:gd name="connsiteY3" fmla="*/ 0 h 51362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086007" h="5136220">
                <a:moveTo>
                  <a:pt x="5987" y="0"/>
                </a:moveTo>
                <a:lnTo>
                  <a:pt x="2086007" y="2835"/>
                </a:lnTo>
                <a:cubicBezTo>
                  <a:pt x="1539369" y="1333330"/>
                  <a:pt x="547923" y="3805725"/>
                  <a:pt x="1285" y="5136220"/>
                </a:cubicBezTo>
                <a:cubicBezTo>
                  <a:pt x="-4577" y="3790997"/>
                  <a:pt x="11849" y="1354016"/>
                  <a:pt x="5987" y="0"/>
                </a:cubicBezTo>
                <a:close/>
              </a:path>
            </a:pathLst>
          </a:custGeom>
          <a:gradFill>
            <a:gsLst>
              <a:gs pos="0">
                <a:srgbClr val="648C1A"/>
              </a:gs>
              <a:gs pos="100000">
                <a:schemeClr val="accent2"/>
              </a:gs>
            </a:gsLst>
            <a:lin ang="108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</p:spTree>
    <p:extLst>
      <p:ext uri="{BB962C8B-B14F-4D97-AF65-F5344CB8AC3E}">
        <p14:creationId xmlns:p14="http://schemas.microsoft.com/office/powerpoint/2010/main" val="10119324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72" r:id="rId1"/>
    <p:sldLayoutId id="2147483973" r:id="rId2"/>
    <p:sldLayoutId id="2147483974" r:id="rId3"/>
    <p:sldLayoutId id="2147483976" r:id="rId4"/>
  </p:sldLayoutIdLst>
  <p:hf sldNum="0" hdr="0" dt="0"/>
  <p:txStyles>
    <p:titleStyle>
      <a:lvl1pPr marL="0" indent="0" algn="l" rtl="0" eaLnBrk="1" fontAlgn="base" hangingPunct="1">
        <a:spcBef>
          <a:spcPct val="0"/>
        </a:spcBef>
        <a:spcAft>
          <a:spcPct val="0"/>
        </a:spcAft>
        <a:defRPr lang="en-US" sz="2200" b="0" kern="1200" cap="all" baseline="0" dirty="0">
          <a:solidFill>
            <a:schemeClr val="accent1"/>
          </a:solidFill>
          <a:effectLst/>
          <a:latin typeface="+mn-lt"/>
          <a:ea typeface="+mj-ea"/>
          <a:cs typeface="+mj-cs"/>
        </a:defRPr>
      </a:lvl1pPr>
      <a:lvl2pPr marL="455613" indent="-455613" algn="l" rtl="0" eaLnBrk="1" fontAlgn="base" hangingPunct="1">
        <a:spcBef>
          <a:spcPct val="0"/>
        </a:spcBef>
        <a:spcAft>
          <a:spcPct val="0"/>
        </a:spcAft>
        <a:defRPr sz="3200">
          <a:solidFill>
            <a:schemeClr val="bg1"/>
          </a:solidFill>
          <a:latin typeface="Arial Narrow" pitchFamily="34" charset="0"/>
        </a:defRPr>
      </a:lvl2pPr>
      <a:lvl3pPr marL="455613" indent="-455613" algn="l" rtl="0" eaLnBrk="1" fontAlgn="base" hangingPunct="1">
        <a:spcBef>
          <a:spcPct val="0"/>
        </a:spcBef>
        <a:spcAft>
          <a:spcPct val="0"/>
        </a:spcAft>
        <a:defRPr sz="3200">
          <a:solidFill>
            <a:schemeClr val="bg1"/>
          </a:solidFill>
          <a:latin typeface="Arial Narrow" pitchFamily="34" charset="0"/>
        </a:defRPr>
      </a:lvl3pPr>
      <a:lvl4pPr marL="455613" indent="-455613" algn="l" rtl="0" eaLnBrk="1" fontAlgn="base" hangingPunct="1">
        <a:spcBef>
          <a:spcPct val="0"/>
        </a:spcBef>
        <a:spcAft>
          <a:spcPct val="0"/>
        </a:spcAft>
        <a:defRPr sz="3200">
          <a:solidFill>
            <a:schemeClr val="bg1"/>
          </a:solidFill>
          <a:latin typeface="Arial Narrow" pitchFamily="34" charset="0"/>
        </a:defRPr>
      </a:lvl4pPr>
      <a:lvl5pPr marL="455613" indent="-455613" algn="l" rtl="0" eaLnBrk="1" fontAlgn="base" hangingPunct="1">
        <a:spcBef>
          <a:spcPct val="0"/>
        </a:spcBef>
        <a:spcAft>
          <a:spcPct val="0"/>
        </a:spcAft>
        <a:defRPr sz="3200">
          <a:solidFill>
            <a:schemeClr val="bg1"/>
          </a:solidFill>
          <a:latin typeface="Arial Narrow" pitchFamily="34" charset="0"/>
        </a:defRPr>
      </a:lvl5pPr>
      <a:lvl6pPr marL="103505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Palatino Linotype" pitchFamily="18" charset="0"/>
        </a:defRPr>
      </a:lvl6pPr>
      <a:lvl7pPr marL="149225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Palatino Linotype" pitchFamily="18" charset="0"/>
        </a:defRPr>
      </a:lvl7pPr>
      <a:lvl8pPr marL="194945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Palatino Linotype" pitchFamily="18" charset="0"/>
        </a:defRPr>
      </a:lvl8pPr>
      <a:lvl9pPr marL="240665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Palatino Linotype" pitchFamily="18" charset="0"/>
        </a:defRPr>
      </a:lvl9pPr>
    </p:titleStyle>
    <p:bodyStyle>
      <a:lvl1pPr marL="230188" indent="-230188" algn="l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SzPct val="100000"/>
        <a:buFont typeface="Arial" panose="020B0604020202020204" pitchFamily="34" charset="0"/>
        <a:buChar char="•"/>
        <a:defRPr lang="en-US" sz="1800" kern="1200" dirty="0">
          <a:solidFill>
            <a:schemeClr val="accent1"/>
          </a:solidFill>
          <a:latin typeface="+mj-lt"/>
          <a:ea typeface="+mn-ea"/>
          <a:cs typeface="+mn-cs"/>
        </a:defRPr>
      </a:lvl1pPr>
      <a:lvl2pPr marL="460375" indent="-223838" algn="l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SzPct val="100000"/>
        <a:buFont typeface="Arial" panose="020B0604020202020204" pitchFamily="34" charset="0"/>
        <a:buChar char="-"/>
        <a:defRPr lang="en-US" sz="1600" kern="1200" dirty="0">
          <a:solidFill>
            <a:schemeClr val="accent1"/>
          </a:solidFill>
          <a:latin typeface="+mj-lt"/>
          <a:ea typeface="+mn-ea"/>
          <a:cs typeface="+mn-cs"/>
        </a:defRPr>
      </a:lvl2pPr>
      <a:lvl3pPr marL="1027113" indent="-344488" algn="l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SzPct val="100000"/>
        <a:buFont typeface="Arial" panose="020B0604020202020204" pitchFamily="34" charset="0"/>
        <a:buChar char="•"/>
        <a:defRPr lang="en-US" sz="1600" kern="1200" dirty="0">
          <a:solidFill>
            <a:schemeClr val="accent1"/>
          </a:solidFill>
          <a:latin typeface="+mj-lt"/>
          <a:ea typeface="+mn-ea"/>
          <a:cs typeface="+mn-cs"/>
        </a:defRPr>
      </a:lvl3pPr>
      <a:lvl4pPr marL="1373188" indent="-344488" algn="l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SzPct val="100000"/>
        <a:buFont typeface="Palatino Linotype" pitchFamily="18" charset="0"/>
        <a:buChar char="◦"/>
        <a:defRPr lang="en-US" sz="1600" kern="1200" dirty="0">
          <a:solidFill>
            <a:schemeClr val="accent1"/>
          </a:solidFill>
          <a:latin typeface="+mj-lt"/>
          <a:ea typeface="+mn-ea"/>
          <a:cs typeface="+mn-cs"/>
        </a:defRPr>
      </a:lvl4pPr>
      <a:lvl5pPr marL="1717675" indent="-342900" algn="l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SzPct val="100000"/>
        <a:buFont typeface="Palatino Linotype" pitchFamily="18" charset="0"/>
        <a:buChar char="▫"/>
        <a:defRPr lang="en-US" sz="1600" kern="1200" dirty="0">
          <a:solidFill>
            <a:schemeClr val="accent1"/>
          </a:solidFill>
          <a:latin typeface="+mj-lt"/>
          <a:ea typeface="+mn-ea"/>
          <a:cs typeface="+mn-cs"/>
        </a:defRPr>
      </a:lvl5pPr>
      <a:lvl6pPr marL="2174875" indent="-342900" algn="l" rtl="0" eaLnBrk="1" fontAlgn="base" hangingPunct="1">
        <a:spcBef>
          <a:spcPct val="20000"/>
        </a:spcBef>
        <a:spcAft>
          <a:spcPct val="0"/>
        </a:spcAft>
        <a:buSzPct val="125000"/>
        <a:buFont typeface="Palatino Linotype" pitchFamily="18" charset="0"/>
        <a:buChar char="▫"/>
        <a:defRPr>
          <a:solidFill>
            <a:schemeClr val="tx1"/>
          </a:solidFill>
          <a:latin typeface="+mn-lt"/>
        </a:defRPr>
      </a:lvl6pPr>
      <a:lvl7pPr marL="2632075" indent="-342900" algn="l" rtl="0" eaLnBrk="1" fontAlgn="base" hangingPunct="1">
        <a:spcBef>
          <a:spcPct val="20000"/>
        </a:spcBef>
        <a:spcAft>
          <a:spcPct val="0"/>
        </a:spcAft>
        <a:buSzPct val="125000"/>
        <a:buFont typeface="Palatino Linotype" pitchFamily="18" charset="0"/>
        <a:buChar char="▫"/>
        <a:defRPr>
          <a:solidFill>
            <a:schemeClr val="tx1"/>
          </a:solidFill>
          <a:latin typeface="+mn-lt"/>
        </a:defRPr>
      </a:lvl7pPr>
      <a:lvl8pPr marL="3089275" indent="-342900" algn="l" rtl="0" eaLnBrk="1" fontAlgn="base" hangingPunct="1">
        <a:spcBef>
          <a:spcPct val="20000"/>
        </a:spcBef>
        <a:spcAft>
          <a:spcPct val="0"/>
        </a:spcAft>
        <a:buSzPct val="125000"/>
        <a:buFont typeface="Palatino Linotype" pitchFamily="18" charset="0"/>
        <a:buChar char="▫"/>
        <a:defRPr>
          <a:solidFill>
            <a:schemeClr val="tx1"/>
          </a:solidFill>
          <a:latin typeface="+mn-lt"/>
        </a:defRPr>
      </a:lvl8pPr>
      <a:lvl9pPr marL="3546475" indent="-342900" algn="l" rtl="0" eaLnBrk="1" fontAlgn="base" hangingPunct="1">
        <a:spcBef>
          <a:spcPct val="20000"/>
        </a:spcBef>
        <a:spcAft>
          <a:spcPct val="0"/>
        </a:spcAft>
        <a:buSzPct val="125000"/>
        <a:buFont typeface="Palatino Linotype" pitchFamily="18" charset="0"/>
        <a:buChar char="▫"/>
        <a:defRPr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3410284133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94" name="think-cell Slide" r:id="rId21" imgW="530" imgH="531" progId="TCLayout.ActiveDocument.1">
                  <p:embed/>
                </p:oleObj>
              </mc:Choice>
              <mc:Fallback>
                <p:oleObj name="think-cell Slide" r:id="rId21" imgW="530" imgH="531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AD21BC84-922A-4C88-A129-B6E4E4D97E1E}"/>
              </a:ext>
            </a:extLst>
          </p:cNvPr>
          <p:cNvSpPr/>
          <p:nvPr userDrawn="1">
            <p:custDataLst>
              <p:tags r:id="rId18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>
              <a:lnSpc>
                <a:spcPct val="100000"/>
              </a:lnSpc>
            </a:pPr>
            <a:endParaRPr lang="en-US" sz="2200" b="0" i="0" baseline="0" dirty="0">
              <a:solidFill>
                <a:schemeClr val="tx1"/>
              </a:solidFill>
              <a:latin typeface="Arial" panose="020B0604020202020204" pitchFamily="34" charset="0"/>
              <a:ea typeface="Meiryo" panose="020B0604030504040204" pitchFamily="34" charset="-128"/>
              <a:cs typeface="+mj-cs"/>
              <a:sym typeface="Arial" panose="020B0604020202020204" pitchFamily="34" charset="0"/>
            </a:endParaRPr>
          </a:p>
        </p:txBody>
      </p:sp>
      <p:sp>
        <p:nvSpPr>
          <p:cNvPr id="15" name="Rectangle 14"/>
          <p:cNvSpPr/>
          <p:nvPr userDrawn="1"/>
        </p:nvSpPr>
        <p:spPr bwMode="auto">
          <a:xfrm>
            <a:off x="0" y="0"/>
            <a:ext cx="12192000" cy="1074396"/>
          </a:xfrm>
          <a:prstGeom prst="rect">
            <a:avLst/>
          </a:prstGeom>
          <a:solidFill>
            <a:schemeClr val="tx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US" sz="1800" kern="0" dirty="0">
              <a:solidFill>
                <a:srgbClr val="555759"/>
              </a:solidFill>
              <a:latin typeface="Palatino Linotype" pitchFamily="18" charset="0"/>
            </a:endParaRPr>
          </a:p>
        </p:txBody>
      </p:sp>
      <p:sp>
        <p:nvSpPr>
          <p:cNvPr id="17" name="Rectangle 16"/>
          <p:cNvSpPr/>
          <p:nvPr userDrawn="1"/>
        </p:nvSpPr>
        <p:spPr bwMode="auto">
          <a:xfrm>
            <a:off x="0" y="1074396"/>
            <a:ext cx="12192000" cy="151354"/>
          </a:xfrm>
          <a:prstGeom prst="rect">
            <a:avLst/>
          </a:prstGeom>
          <a:solidFill>
            <a:schemeClr val="accent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US" sz="1800" kern="0" dirty="0">
              <a:solidFill>
                <a:srgbClr val="555759"/>
              </a:solidFill>
              <a:latin typeface="Palatino Linotype" pitchFamily="18" charset="0"/>
            </a:endParaRPr>
          </a:p>
        </p:txBody>
      </p:sp>
      <p:sp>
        <p:nvSpPr>
          <p:cNvPr id="1026" name="Title"/>
          <p:cNvSpPr>
            <a:spLocks noGrp="1" noChangeArrowheads="1"/>
          </p:cNvSpPr>
          <p:nvPr>
            <p:ph type="title"/>
            <p:custDataLst>
              <p:tags r:id="rId19"/>
            </p:custDataLst>
          </p:nvPr>
        </p:nvSpPr>
        <p:spPr bwMode="gray">
          <a:xfrm>
            <a:off x="287453" y="1"/>
            <a:ext cx="11625600" cy="1011600"/>
          </a:xfrm>
          <a:prstGeom prst="rect">
            <a:avLst/>
          </a:prstGeom>
        </p:spPr>
        <p:txBody>
          <a:bodyPr anchor="b"/>
          <a:lstStyle/>
          <a:p>
            <a:pPr lvl="0"/>
            <a:r>
              <a:rPr lang="en-US" altLang="ja-JP"/>
              <a:t>Click to edit Master title style</a:t>
            </a:r>
            <a:endParaRPr lang="en-GB" dirty="0"/>
          </a:p>
        </p:txBody>
      </p:sp>
      <p:sp>
        <p:nvSpPr>
          <p:cNvPr id="1027" name="BodyText"/>
          <p:cNvSpPr>
            <a:spLocks noGrp="1" noChangeArrowheads="1"/>
          </p:cNvSpPr>
          <p:nvPr>
            <p:ph type="body" idx="1"/>
            <p:custDataLst>
              <p:tags r:id="rId20"/>
            </p:custDataLst>
          </p:nvPr>
        </p:nvSpPr>
        <p:spPr bwMode="gray">
          <a:xfrm>
            <a:off x="287453" y="1341114"/>
            <a:ext cx="11625600" cy="48280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ja-JP"/>
              <a:t>Click to edit Master text styles</a:t>
            </a:r>
          </a:p>
          <a:p>
            <a:pPr lvl="1"/>
            <a:r>
              <a:rPr lang="en-US" altLang="ja-JP"/>
              <a:t>Second level</a:t>
            </a:r>
          </a:p>
          <a:p>
            <a:pPr lvl="2"/>
            <a:r>
              <a:rPr lang="en-US" altLang="ja-JP"/>
              <a:t>Third level</a:t>
            </a:r>
          </a:p>
          <a:p>
            <a:pPr lvl="3"/>
            <a:r>
              <a:rPr lang="en-US" altLang="ja-JP"/>
              <a:t>Fourth level</a:t>
            </a:r>
          </a:p>
          <a:p>
            <a:pPr lvl="4"/>
            <a:r>
              <a:rPr lang="en-US" altLang="ja-JP"/>
              <a:t>Fifth level</a:t>
            </a:r>
            <a:endParaRPr lang="en-GB" dirty="0"/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304802" y="6250077"/>
            <a:ext cx="11592985" cy="0"/>
          </a:xfrm>
          <a:prstGeom prst="line">
            <a:avLst/>
          </a:prstGeom>
          <a:ln w="9525">
            <a:solidFill>
              <a:srgbClr val="555759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18"/>
          <p:cNvSpPr txBox="1">
            <a:spLocks/>
          </p:cNvSpPr>
          <p:nvPr userDrawn="1"/>
        </p:nvSpPr>
        <p:spPr>
          <a:xfrm>
            <a:off x="475204" y="6370117"/>
            <a:ext cx="7770501" cy="205345"/>
          </a:xfrm>
          <a:prstGeom prst="rect">
            <a:avLst/>
          </a:prstGeom>
        </p:spPr>
        <p:txBody>
          <a:bodyPr vert="horz"/>
          <a:lstStyle>
            <a:lvl1pPr marL="0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 baseline="0">
                <a:solidFill>
                  <a:srgbClr val="898C8F"/>
                </a:solidFill>
                <a:latin typeface="+mj-lt"/>
                <a:ea typeface="+mn-ea"/>
                <a:cs typeface="+mn-cs"/>
              </a:defRPr>
            </a:lvl1pPr>
            <a:lvl2pPr marL="457178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2pPr>
            <a:lvl3pPr marL="914354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3pPr>
            <a:lvl4pPr marL="1371532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4pPr>
            <a:lvl5pPr marL="1828709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5pPr>
            <a:lvl6pPr marL="21748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6pPr>
            <a:lvl7pPr marL="26320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7pPr>
            <a:lvl8pPr marL="30892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8pPr>
            <a:lvl9pPr marL="35464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648C1A"/>
              </a:buClr>
            </a:pPr>
            <a:r>
              <a:rPr sz="900" dirty="0">
                <a:solidFill>
                  <a:srgbClr val="555759">
                    <a:lumMod val="60000"/>
                    <a:lumOff val="40000"/>
                  </a:srgbClr>
                </a:solidFill>
              </a:rPr>
              <a:t>/ ©2016 </a:t>
            </a:r>
            <a:r>
              <a:rPr lang="en-US" sz="900" dirty="0">
                <a:solidFill>
                  <a:srgbClr val="555759">
                    <a:lumMod val="60000"/>
                    <a:lumOff val="40000"/>
                  </a:srgbClr>
                </a:solidFill>
              </a:rPr>
              <a:t>Navigant – A </a:t>
            </a:r>
            <a:r>
              <a:rPr lang="en-US" sz="900" dirty="0" err="1">
                <a:solidFill>
                  <a:srgbClr val="555759">
                    <a:lumMod val="60000"/>
                    <a:lumOff val="40000"/>
                  </a:srgbClr>
                </a:solidFill>
              </a:rPr>
              <a:t>Guidehouse</a:t>
            </a:r>
            <a:r>
              <a:rPr lang="en-US" sz="900" dirty="0">
                <a:solidFill>
                  <a:srgbClr val="555759">
                    <a:lumMod val="60000"/>
                    <a:lumOff val="40000"/>
                  </a:srgbClr>
                </a:solidFill>
              </a:rPr>
              <a:t> Company</a:t>
            </a:r>
            <a:r>
              <a:rPr sz="900" dirty="0">
                <a:solidFill>
                  <a:srgbClr val="555759">
                    <a:lumMod val="60000"/>
                    <a:lumOff val="40000"/>
                  </a:srgbClr>
                </a:solidFill>
              </a:rPr>
              <a:t> Consulting, Inc. All rights Reserved</a:t>
            </a:r>
          </a:p>
        </p:txBody>
      </p:sp>
      <p:sp>
        <p:nvSpPr>
          <p:cNvPr id="13" name="Text Placeholder 18"/>
          <p:cNvSpPr txBox="1">
            <a:spLocks/>
          </p:cNvSpPr>
          <p:nvPr userDrawn="1"/>
        </p:nvSpPr>
        <p:spPr>
          <a:xfrm>
            <a:off x="182020" y="6365442"/>
            <a:ext cx="824304" cy="210020"/>
          </a:xfrm>
          <a:prstGeom prst="rect">
            <a:avLst/>
          </a:prstGeom>
        </p:spPr>
        <p:txBody>
          <a:bodyPr vert="horz"/>
          <a:lstStyle>
            <a:lvl1pPr marL="0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 baseline="0">
                <a:solidFill>
                  <a:srgbClr val="898C8F"/>
                </a:solidFill>
                <a:latin typeface="+mj-lt"/>
                <a:ea typeface="+mn-ea"/>
                <a:cs typeface="+mn-cs"/>
              </a:defRPr>
            </a:lvl1pPr>
            <a:lvl2pPr marL="457178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2pPr>
            <a:lvl3pPr marL="914354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3pPr>
            <a:lvl4pPr marL="1371532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4pPr>
            <a:lvl5pPr marL="1828709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5pPr>
            <a:lvl6pPr marL="21748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6pPr>
            <a:lvl7pPr marL="26320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7pPr>
            <a:lvl8pPr marL="30892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8pPr>
            <a:lvl9pPr marL="35464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648C1A"/>
              </a:buClr>
            </a:pPr>
            <a:fld id="{C0D4A90D-707C-4CFA-8F87-17CF45DE2B45}" type="slidenum">
              <a:rPr sz="900" smtClean="0">
                <a:solidFill>
                  <a:srgbClr val="95D600"/>
                </a:solidFill>
              </a:rPr>
              <a:pPr>
                <a:buClr>
                  <a:srgbClr val="648C1A"/>
                </a:buClr>
              </a:pPr>
              <a:t>‹#›</a:t>
            </a:fld>
            <a:endParaRPr sz="900" dirty="0"/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2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07280" y="6396705"/>
            <a:ext cx="1303209" cy="1686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181782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78" r:id="rId1"/>
    <p:sldLayoutId id="2147483979" r:id="rId2"/>
    <p:sldLayoutId id="2147483980" r:id="rId3"/>
    <p:sldLayoutId id="2147483981" r:id="rId4"/>
    <p:sldLayoutId id="2147483982" r:id="rId5"/>
    <p:sldLayoutId id="2147483983" r:id="rId6"/>
    <p:sldLayoutId id="2147483984" r:id="rId7"/>
    <p:sldLayoutId id="2147483985" r:id="rId8"/>
    <p:sldLayoutId id="2147483986" r:id="rId9"/>
    <p:sldLayoutId id="2147483987" r:id="rId10"/>
    <p:sldLayoutId id="2147483988" r:id="rId11"/>
    <p:sldLayoutId id="2147483989" r:id="rId12"/>
    <p:sldLayoutId id="2147483990" r:id="rId13"/>
    <p:sldLayoutId id="2147483991" r:id="rId14"/>
  </p:sldLayoutIdLst>
  <p:hf sldNum="0" hdr="0" ftr="0"/>
  <p:txStyles>
    <p:titleStyle>
      <a:lvl1pPr marL="0" indent="0" algn="l" rtl="0" eaLnBrk="1" fontAlgn="base" hangingPunct="1">
        <a:lnSpc>
          <a:spcPct val="88000"/>
        </a:lnSpc>
        <a:spcBef>
          <a:spcPct val="0"/>
        </a:spcBef>
        <a:spcAft>
          <a:spcPct val="0"/>
        </a:spcAft>
        <a:defRPr lang="en-GB" altLang="ja-JP" sz="2200" b="0" kern="1200" cap="all" baseline="0" dirty="0" smtClean="0">
          <a:solidFill>
            <a:schemeClr val="bg2"/>
          </a:solidFill>
          <a:effectLst/>
          <a:latin typeface="+mn-lt"/>
          <a:ea typeface="+mj-ea"/>
          <a:cs typeface="+mj-cs"/>
          <a:sym typeface="+mj-lt"/>
        </a:defRPr>
      </a:lvl1pPr>
      <a:lvl2pPr algn="l" rtl="0" eaLnBrk="1" fontAlgn="base" hangingPunct="1">
        <a:lnSpc>
          <a:spcPct val="88000"/>
        </a:lnSpc>
        <a:spcBef>
          <a:spcPct val="0"/>
        </a:spcBef>
        <a:spcAft>
          <a:spcPct val="0"/>
        </a:spcAft>
        <a:defRPr>
          <a:solidFill>
            <a:srgbClr val="002C77"/>
          </a:solidFill>
          <a:latin typeface="Arial" charset="0"/>
          <a:cs typeface="Arial" charset="0"/>
        </a:defRPr>
      </a:lvl2pPr>
      <a:lvl3pPr algn="l" rtl="0" eaLnBrk="1" fontAlgn="base" hangingPunct="1">
        <a:lnSpc>
          <a:spcPct val="88000"/>
        </a:lnSpc>
        <a:spcBef>
          <a:spcPct val="0"/>
        </a:spcBef>
        <a:spcAft>
          <a:spcPct val="0"/>
        </a:spcAft>
        <a:defRPr>
          <a:solidFill>
            <a:srgbClr val="002C77"/>
          </a:solidFill>
          <a:latin typeface="Arial" charset="0"/>
          <a:cs typeface="Arial" charset="0"/>
        </a:defRPr>
      </a:lvl3pPr>
      <a:lvl4pPr algn="l" rtl="0" eaLnBrk="1" fontAlgn="base" hangingPunct="1">
        <a:lnSpc>
          <a:spcPct val="88000"/>
        </a:lnSpc>
        <a:spcBef>
          <a:spcPct val="0"/>
        </a:spcBef>
        <a:spcAft>
          <a:spcPct val="0"/>
        </a:spcAft>
        <a:defRPr>
          <a:solidFill>
            <a:srgbClr val="002C77"/>
          </a:solidFill>
          <a:latin typeface="Arial" charset="0"/>
          <a:cs typeface="Arial" charset="0"/>
        </a:defRPr>
      </a:lvl4pPr>
      <a:lvl5pPr algn="l" rtl="0" eaLnBrk="1" fontAlgn="base" hangingPunct="1">
        <a:lnSpc>
          <a:spcPct val="88000"/>
        </a:lnSpc>
        <a:spcBef>
          <a:spcPct val="0"/>
        </a:spcBef>
        <a:spcAft>
          <a:spcPct val="0"/>
        </a:spcAft>
        <a:defRPr>
          <a:solidFill>
            <a:srgbClr val="002C77"/>
          </a:solidFill>
          <a:latin typeface="Arial" charset="0"/>
          <a:cs typeface="Arial" charset="0"/>
        </a:defRPr>
      </a:lvl5pPr>
      <a:lvl6pPr marL="457200" algn="l" rtl="0" eaLnBrk="1" fontAlgn="base" hangingPunct="1">
        <a:lnSpc>
          <a:spcPct val="88000"/>
        </a:lnSpc>
        <a:spcBef>
          <a:spcPct val="0"/>
        </a:spcBef>
        <a:spcAft>
          <a:spcPct val="0"/>
        </a:spcAft>
        <a:defRPr>
          <a:solidFill>
            <a:srgbClr val="002C77"/>
          </a:solidFill>
          <a:latin typeface="Arial" charset="0"/>
          <a:cs typeface="Arial" charset="0"/>
        </a:defRPr>
      </a:lvl6pPr>
      <a:lvl7pPr marL="914401" algn="l" rtl="0" eaLnBrk="1" fontAlgn="base" hangingPunct="1">
        <a:lnSpc>
          <a:spcPct val="88000"/>
        </a:lnSpc>
        <a:spcBef>
          <a:spcPct val="0"/>
        </a:spcBef>
        <a:spcAft>
          <a:spcPct val="0"/>
        </a:spcAft>
        <a:defRPr>
          <a:solidFill>
            <a:srgbClr val="002C77"/>
          </a:solidFill>
          <a:latin typeface="Arial" charset="0"/>
          <a:cs typeface="Arial" charset="0"/>
        </a:defRPr>
      </a:lvl7pPr>
      <a:lvl8pPr marL="1371601" algn="l" rtl="0" eaLnBrk="1" fontAlgn="base" hangingPunct="1">
        <a:lnSpc>
          <a:spcPct val="88000"/>
        </a:lnSpc>
        <a:spcBef>
          <a:spcPct val="0"/>
        </a:spcBef>
        <a:spcAft>
          <a:spcPct val="0"/>
        </a:spcAft>
        <a:defRPr>
          <a:solidFill>
            <a:srgbClr val="002C77"/>
          </a:solidFill>
          <a:latin typeface="Arial" charset="0"/>
          <a:cs typeface="Arial" charset="0"/>
        </a:defRPr>
      </a:lvl8pPr>
      <a:lvl9pPr marL="1828800" algn="l" rtl="0" eaLnBrk="1" fontAlgn="base" hangingPunct="1">
        <a:lnSpc>
          <a:spcPct val="88000"/>
        </a:lnSpc>
        <a:spcBef>
          <a:spcPct val="0"/>
        </a:spcBef>
        <a:spcAft>
          <a:spcPct val="0"/>
        </a:spcAft>
        <a:defRPr>
          <a:solidFill>
            <a:srgbClr val="002C77"/>
          </a:solidFill>
          <a:latin typeface="Arial" charset="0"/>
          <a:cs typeface="Arial" charset="0"/>
        </a:defRPr>
      </a:lvl9pPr>
    </p:titleStyle>
    <p:bodyStyle>
      <a:lvl1pPr marL="180000" indent="-180000" algn="l" rtl="0" eaLnBrk="1" fontAlgn="base" hangingPunct="1">
        <a:spcBef>
          <a:spcPts val="700"/>
        </a:spcBef>
        <a:spcAft>
          <a:spcPts val="0"/>
        </a:spcAft>
        <a:buChar char="•"/>
        <a:defRPr sz="1400">
          <a:solidFill>
            <a:schemeClr val="tx1"/>
          </a:solidFill>
          <a:latin typeface="+mn-lt"/>
          <a:ea typeface="+mn-ea"/>
          <a:cs typeface="+mn-cs"/>
          <a:sym typeface="+mn-lt"/>
        </a:defRPr>
      </a:lvl1pPr>
      <a:lvl2pPr marL="360000" indent="-180000" algn="l" rtl="0" eaLnBrk="1" fontAlgn="base" hangingPunct="1">
        <a:spcBef>
          <a:spcPts val="300"/>
        </a:spcBef>
        <a:spcAft>
          <a:spcPts val="0"/>
        </a:spcAft>
        <a:buFont typeface="Arial" charset="0"/>
        <a:buChar char="–"/>
        <a:defRPr sz="1400" baseline="0">
          <a:solidFill>
            <a:schemeClr val="tx1"/>
          </a:solidFill>
          <a:latin typeface="+mn-lt"/>
          <a:ea typeface="+mn-ea"/>
          <a:cs typeface="+mn-cs"/>
          <a:sym typeface="+mn-lt"/>
        </a:defRPr>
      </a:lvl2pPr>
      <a:lvl3pPr marL="540000" indent="-179388" algn="l" rtl="0" eaLnBrk="1" fontAlgn="base" hangingPunct="1">
        <a:spcBef>
          <a:spcPts val="300"/>
        </a:spcBef>
        <a:spcAft>
          <a:spcPts val="0"/>
        </a:spcAft>
        <a:buFont typeface="Arial" charset="0"/>
        <a:buChar char="-"/>
        <a:defRPr sz="1400">
          <a:solidFill>
            <a:schemeClr val="tx1"/>
          </a:solidFill>
          <a:latin typeface="+mn-lt"/>
          <a:ea typeface="+mn-ea"/>
          <a:cs typeface="+mn-cs"/>
          <a:sym typeface="+mn-lt"/>
        </a:defRPr>
      </a:lvl3pPr>
      <a:lvl4pPr marL="720000" indent="-179388" algn="l" rtl="0" eaLnBrk="1" fontAlgn="base" hangingPunct="1">
        <a:spcBef>
          <a:spcPts val="300"/>
        </a:spcBef>
        <a:spcAft>
          <a:spcPts val="0"/>
        </a:spcAft>
        <a:buFont typeface="Arial" charset="0"/>
        <a:buChar char="-"/>
        <a:defRPr sz="1400">
          <a:solidFill>
            <a:schemeClr val="tx1"/>
          </a:solidFill>
          <a:latin typeface="+mn-lt"/>
          <a:ea typeface="+mn-ea"/>
          <a:cs typeface="+mn-cs"/>
          <a:sym typeface="+mn-lt"/>
        </a:defRPr>
      </a:lvl4pPr>
      <a:lvl5pPr marL="900000" indent="-180000" algn="l" rtl="0" eaLnBrk="1" fontAlgn="base" hangingPunct="1">
        <a:spcBef>
          <a:spcPts val="300"/>
        </a:spcBef>
        <a:spcAft>
          <a:spcPts val="0"/>
        </a:spcAft>
        <a:buFont typeface="Arial" panose="020B0604020202020204" pitchFamily="34" charset="0"/>
        <a:buChar char="-"/>
        <a:defRPr sz="1400">
          <a:solidFill>
            <a:schemeClr val="tx1"/>
          </a:solidFill>
          <a:latin typeface="+mn-lt"/>
          <a:ea typeface="+mn-ea"/>
          <a:cs typeface="+mn-cs"/>
          <a:sym typeface="+mn-lt"/>
        </a:defRPr>
      </a:lvl5pPr>
      <a:lvl6pPr marL="1080000" indent="-180000" algn="l" rtl="0" eaLnBrk="1" fontAlgn="base" hangingPunct="1">
        <a:spcBef>
          <a:spcPts val="300"/>
        </a:spcBef>
        <a:spcAft>
          <a:spcPts val="0"/>
        </a:spcAft>
        <a:buFont typeface="Arial" charset="0"/>
        <a:buChar char="-"/>
        <a:defRPr sz="1400" baseline="0">
          <a:solidFill>
            <a:schemeClr val="tx1"/>
          </a:solidFill>
          <a:latin typeface="+mn-lt"/>
          <a:cs typeface="+mn-cs"/>
        </a:defRPr>
      </a:lvl6pPr>
      <a:lvl7pPr marL="1260001" indent="-180000" algn="l" rtl="0" eaLnBrk="1" fontAlgn="base" hangingPunct="1">
        <a:spcBef>
          <a:spcPts val="300"/>
        </a:spcBef>
        <a:spcAft>
          <a:spcPts val="0"/>
        </a:spcAft>
        <a:buFont typeface="Arial" charset="0"/>
        <a:buChar char="-"/>
        <a:defRPr sz="1400">
          <a:solidFill>
            <a:schemeClr val="tx1"/>
          </a:solidFill>
          <a:latin typeface="+mn-lt"/>
          <a:cs typeface="+mn-cs"/>
        </a:defRPr>
      </a:lvl7pPr>
      <a:lvl8pPr marL="1440001" indent="-180000" algn="l" rtl="0" eaLnBrk="1" fontAlgn="base" hangingPunct="1">
        <a:spcBef>
          <a:spcPts val="300"/>
        </a:spcBef>
        <a:spcAft>
          <a:spcPts val="0"/>
        </a:spcAft>
        <a:buFont typeface="Arial" charset="0"/>
        <a:buChar char="-"/>
        <a:defRPr sz="1400">
          <a:solidFill>
            <a:schemeClr val="tx1"/>
          </a:solidFill>
          <a:latin typeface="+mn-lt"/>
          <a:cs typeface="+mn-cs"/>
        </a:defRPr>
      </a:lvl8pPr>
      <a:lvl9pPr marL="1620001" indent="-180000" algn="l" rtl="0" eaLnBrk="1" fontAlgn="base" hangingPunct="1">
        <a:spcBef>
          <a:spcPts val="300"/>
        </a:spcBef>
        <a:spcAft>
          <a:spcPts val="0"/>
        </a:spcAft>
        <a:buFont typeface="Arial" charset="0"/>
        <a:buChar char="-"/>
        <a:defRPr sz="1400" baseline="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1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1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1" algn="l" defTabSz="914401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1" algn="l" defTabSz="914401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1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1" algn="l" defTabSz="914401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1" algn="l" defTabSz="914401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2" algn="l" defTabSz="914401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2" algn="l" defTabSz="91440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795" userDrawn="1">
          <p15:clr>
            <a:srgbClr val="F26B43"/>
          </p15:clr>
        </p15:guide>
        <p15:guide id="2" pos="3840" userDrawn="1">
          <p15:clr>
            <a:srgbClr val="F26B43"/>
          </p15:clr>
        </p15:guide>
        <p15:guide id="3" orient="horz" pos="3887" userDrawn="1">
          <p15:clr>
            <a:srgbClr val="F26B43"/>
          </p15:clr>
        </p15:guide>
        <p15:guide id="4" pos="180" userDrawn="1">
          <p15:clr>
            <a:srgbClr val="F26B43"/>
          </p15:clr>
        </p15:guide>
        <p15:guide id="5" pos="7507" userDrawn="1">
          <p15:clr>
            <a:srgbClr val="F26B43"/>
          </p15:clr>
        </p15:guide>
        <p15:guide id="6" orient="horz" pos="240" userDrawn="1">
          <p15:clr>
            <a:srgbClr val="F26B43"/>
          </p15:clr>
        </p15:guide>
        <p15:guide id="7" pos="4027" userDrawn="1">
          <p15:clr>
            <a:srgbClr val="F26B43"/>
          </p15:clr>
        </p15:guide>
        <p15:guide id="8" pos="3653" userDrawn="1">
          <p15:clr>
            <a:srgbClr val="F26B43"/>
          </p15:clr>
        </p15:guide>
      </p15:sldGuideLst>
    </p:ext>
  </p:extLst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31087363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90" name="think-cell Slide" r:id="rId21" imgW="530" imgH="531" progId="TCLayout.ActiveDocument.1">
                  <p:embed/>
                </p:oleObj>
              </mc:Choice>
              <mc:Fallback>
                <p:oleObj name="think-cell Slide" r:id="rId21" imgW="530" imgH="531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FAB28F75-4B5D-4070-A491-FC37633BA759}"/>
              </a:ext>
            </a:extLst>
          </p:cNvPr>
          <p:cNvSpPr/>
          <p:nvPr userDrawn="1">
            <p:custDataLst>
              <p:tags r:id="rId18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>
              <a:lnSpc>
                <a:spcPct val="100000"/>
              </a:lnSpc>
            </a:pPr>
            <a:endParaRPr lang="en-US" sz="2200" b="0" i="0" baseline="0" dirty="0">
              <a:solidFill>
                <a:schemeClr val="tx1"/>
              </a:solidFill>
              <a:latin typeface="Arial" panose="020B0604020202020204" pitchFamily="34" charset="0"/>
              <a:ea typeface="Meiryo" panose="020B0604030504040204" pitchFamily="34" charset="-128"/>
              <a:cs typeface="+mj-cs"/>
              <a:sym typeface="Arial" panose="020B0604020202020204" pitchFamily="34" charset="0"/>
            </a:endParaRPr>
          </a:p>
        </p:txBody>
      </p:sp>
      <p:sp>
        <p:nvSpPr>
          <p:cNvPr id="15" name="Rectangle 14"/>
          <p:cNvSpPr/>
          <p:nvPr userDrawn="1"/>
        </p:nvSpPr>
        <p:spPr bwMode="auto">
          <a:xfrm>
            <a:off x="0" y="0"/>
            <a:ext cx="12192000" cy="1074396"/>
          </a:xfrm>
          <a:prstGeom prst="rect">
            <a:avLst/>
          </a:prstGeom>
          <a:solidFill>
            <a:schemeClr val="tx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US" sz="1800" kern="0" dirty="0">
              <a:solidFill>
                <a:srgbClr val="555759"/>
              </a:solidFill>
              <a:latin typeface="Palatino Linotype" pitchFamily="18" charset="0"/>
            </a:endParaRPr>
          </a:p>
        </p:txBody>
      </p:sp>
      <p:sp>
        <p:nvSpPr>
          <p:cNvPr id="17" name="Rectangle 16"/>
          <p:cNvSpPr/>
          <p:nvPr userDrawn="1"/>
        </p:nvSpPr>
        <p:spPr bwMode="auto">
          <a:xfrm>
            <a:off x="0" y="1074396"/>
            <a:ext cx="12192000" cy="151354"/>
          </a:xfrm>
          <a:prstGeom prst="rect">
            <a:avLst/>
          </a:prstGeom>
          <a:solidFill>
            <a:schemeClr val="accent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US" sz="1800" kern="0" dirty="0">
              <a:solidFill>
                <a:srgbClr val="555759"/>
              </a:solidFill>
              <a:latin typeface="Palatino Linotype" pitchFamily="18" charset="0"/>
            </a:endParaRPr>
          </a:p>
        </p:txBody>
      </p:sp>
      <p:sp>
        <p:nvSpPr>
          <p:cNvPr id="1026" name="Title"/>
          <p:cNvSpPr>
            <a:spLocks noGrp="1" noChangeArrowheads="1"/>
          </p:cNvSpPr>
          <p:nvPr>
            <p:ph type="title"/>
            <p:custDataLst>
              <p:tags r:id="rId19"/>
            </p:custDataLst>
          </p:nvPr>
        </p:nvSpPr>
        <p:spPr bwMode="gray">
          <a:xfrm>
            <a:off x="287453" y="1"/>
            <a:ext cx="11625600" cy="1011600"/>
          </a:xfrm>
          <a:prstGeom prst="rect">
            <a:avLst/>
          </a:prstGeom>
        </p:spPr>
        <p:txBody>
          <a:bodyPr anchor="b"/>
          <a:lstStyle/>
          <a:p>
            <a:pPr lvl="0"/>
            <a:r>
              <a:rPr lang="en-US" altLang="ja-JP"/>
              <a:t>Click to edit Master title style</a:t>
            </a:r>
            <a:endParaRPr lang="en-GB" dirty="0"/>
          </a:p>
        </p:txBody>
      </p:sp>
      <p:sp>
        <p:nvSpPr>
          <p:cNvPr id="1027" name="BodyText"/>
          <p:cNvSpPr>
            <a:spLocks noGrp="1" noChangeArrowheads="1"/>
          </p:cNvSpPr>
          <p:nvPr>
            <p:ph type="body" idx="1"/>
            <p:custDataLst>
              <p:tags r:id="rId20"/>
            </p:custDataLst>
          </p:nvPr>
        </p:nvSpPr>
        <p:spPr bwMode="gray">
          <a:xfrm>
            <a:off x="287453" y="1341114"/>
            <a:ext cx="11625600" cy="48280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ja-JP" dirty="0"/>
              <a:t>Click to edit Master text styles</a:t>
            </a:r>
          </a:p>
          <a:p>
            <a:pPr lvl="1"/>
            <a:r>
              <a:rPr lang="en-US" altLang="ja-JP" dirty="0"/>
              <a:t>Second level</a:t>
            </a:r>
          </a:p>
          <a:p>
            <a:pPr lvl="2"/>
            <a:r>
              <a:rPr lang="en-US" altLang="ja-JP" dirty="0"/>
              <a:t>Third level</a:t>
            </a:r>
          </a:p>
          <a:p>
            <a:pPr lvl="3"/>
            <a:r>
              <a:rPr lang="en-US" altLang="ja-JP" dirty="0"/>
              <a:t>Fourth level</a:t>
            </a:r>
          </a:p>
          <a:p>
            <a:pPr lvl="4"/>
            <a:r>
              <a:rPr lang="en-US" altLang="ja-JP" dirty="0"/>
              <a:t>Fifth level</a:t>
            </a:r>
            <a:endParaRPr lang="en-GB" dirty="0"/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304802" y="6250077"/>
            <a:ext cx="11592985" cy="0"/>
          </a:xfrm>
          <a:prstGeom prst="line">
            <a:avLst/>
          </a:prstGeom>
          <a:ln w="9525">
            <a:solidFill>
              <a:srgbClr val="555759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18"/>
          <p:cNvSpPr txBox="1">
            <a:spLocks/>
          </p:cNvSpPr>
          <p:nvPr userDrawn="1"/>
        </p:nvSpPr>
        <p:spPr>
          <a:xfrm>
            <a:off x="475204" y="6370117"/>
            <a:ext cx="7770501" cy="205345"/>
          </a:xfrm>
          <a:prstGeom prst="rect">
            <a:avLst/>
          </a:prstGeom>
        </p:spPr>
        <p:txBody>
          <a:bodyPr vert="horz"/>
          <a:lstStyle>
            <a:lvl1pPr marL="0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 baseline="0">
                <a:solidFill>
                  <a:srgbClr val="898C8F"/>
                </a:solidFill>
                <a:latin typeface="+mj-lt"/>
                <a:ea typeface="+mn-ea"/>
                <a:cs typeface="+mn-cs"/>
              </a:defRPr>
            </a:lvl1pPr>
            <a:lvl2pPr marL="457178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2pPr>
            <a:lvl3pPr marL="914354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3pPr>
            <a:lvl4pPr marL="1371532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4pPr>
            <a:lvl5pPr marL="1828709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5pPr>
            <a:lvl6pPr marL="21748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6pPr>
            <a:lvl7pPr marL="26320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7pPr>
            <a:lvl8pPr marL="30892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8pPr>
            <a:lvl9pPr marL="35464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648C1A"/>
              </a:buClr>
            </a:pPr>
            <a:r>
              <a:rPr sz="900" dirty="0">
                <a:solidFill>
                  <a:srgbClr val="555759">
                    <a:lumMod val="60000"/>
                    <a:lumOff val="40000"/>
                  </a:srgbClr>
                </a:solidFill>
              </a:rPr>
              <a:t>/ ©201</a:t>
            </a:r>
            <a:r>
              <a:rPr lang="en-US" sz="900" dirty="0">
                <a:solidFill>
                  <a:srgbClr val="555759">
                    <a:lumMod val="60000"/>
                    <a:lumOff val="40000"/>
                  </a:srgbClr>
                </a:solidFill>
              </a:rPr>
              <a:t>9</a:t>
            </a:r>
            <a:r>
              <a:rPr sz="900" dirty="0">
                <a:solidFill>
                  <a:srgbClr val="555759">
                    <a:lumMod val="60000"/>
                    <a:lumOff val="40000"/>
                  </a:srgbClr>
                </a:solidFill>
              </a:rPr>
              <a:t> </a:t>
            </a:r>
            <a:r>
              <a:rPr lang="en-US" sz="900" dirty="0">
                <a:solidFill>
                  <a:srgbClr val="555759">
                    <a:lumMod val="60000"/>
                    <a:lumOff val="40000"/>
                  </a:srgbClr>
                </a:solidFill>
              </a:rPr>
              <a:t>Navigant – A </a:t>
            </a:r>
            <a:r>
              <a:rPr lang="en-US" sz="900" dirty="0" err="1">
                <a:solidFill>
                  <a:srgbClr val="555759">
                    <a:lumMod val="60000"/>
                    <a:lumOff val="40000"/>
                  </a:srgbClr>
                </a:solidFill>
              </a:rPr>
              <a:t>Guidehouse</a:t>
            </a:r>
            <a:r>
              <a:rPr lang="en-US" sz="900" dirty="0">
                <a:solidFill>
                  <a:srgbClr val="555759">
                    <a:lumMod val="60000"/>
                    <a:lumOff val="40000"/>
                  </a:srgbClr>
                </a:solidFill>
              </a:rPr>
              <a:t> Company</a:t>
            </a:r>
            <a:r>
              <a:rPr sz="900" dirty="0">
                <a:solidFill>
                  <a:srgbClr val="555759">
                    <a:lumMod val="60000"/>
                    <a:lumOff val="40000"/>
                  </a:srgbClr>
                </a:solidFill>
              </a:rPr>
              <a:t> Consulting, Inc. All rights Reserved</a:t>
            </a:r>
          </a:p>
        </p:txBody>
      </p:sp>
      <p:sp>
        <p:nvSpPr>
          <p:cNvPr id="13" name="Text Placeholder 18"/>
          <p:cNvSpPr txBox="1">
            <a:spLocks/>
          </p:cNvSpPr>
          <p:nvPr userDrawn="1"/>
        </p:nvSpPr>
        <p:spPr>
          <a:xfrm>
            <a:off x="182020" y="6365442"/>
            <a:ext cx="824304" cy="210020"/>
          </a:xfrm>
          <a:prstGeom prst="rect">
            <a:avLst/>
          </a:prstGeom>
        </p:spPr>
        <p:txBody>
          <a:bodyPr vert="horz"/>
          <a:lstStyle>
            <a:lvl1pPr marL="0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 baseline="0">
                <a:solidFill>
                  <a:srgbClr val="898C8F"/>
                </a:solidFill>
                <a:latin typeface="+mj-lt"/>
                <a:ea typeface="+mn-ea"/>
                <a:cs typeface="+mn-cs"/>
              </a:defRPr>
            </a:lvl1pPr>
            <a:lvl2pPr marL="457178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2pPr>
            <a:lvl3pPr marL="914354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3pPr>
            <a:lvl4pPr marL="1371532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4pPr>
            <a:lvl5pPr marL="1828709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5pPr>
            <a:lvl6pPr marL="21748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6pPr>
            <a:lvl7pPr marL="26320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7pPr>
            <a:lvl8pPr marL="30892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8pPr>
            <a:lvl9pPr marL="35464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648C1A"/>
              </a:buClr>
            </a:pPr>
            <a:fld id="{C0D4A90D-707C-4CFA-8F87-17CF45DE2B45}" type="slidenum">
              <a:rPr sz="900" smtClean="0">
                <a:solidFill>
                  <a:srgbClr val="95D600"/>
                </a:solidFill>
              </a:rPr>
              <a:pPr>
                <a:buClr>
                  <a:srgbClr val="648C1A"/>
                </a:buClr>
              </a:pPr>
              <a:t>‹#›</a:t>
            </a:fld>
            <a:endParaRPr sz="900" dirty="0"/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2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07280" y="6396705"/>
            <a:ext cx="1303209" cy="1686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555779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93" r:id="rId1"/>
    <p:sldLayoutId id="2147483994" r:id="rId2"/>
    <p:sldLayoutId id="2147483995" r:id="rId3"/>
    <p:sldLayoutId id="2147483996" r:id="rId4"/>
    <p:sldLayoutId id="2147483997" r:id="rId5"/>
    <p:sldLayoutId id="2147483998" r:id="rId6"/>
    <p:sldLayoutId id="2147483999" r:id="rId7"/>
    <p:sldLayoutId id="2147484000" r:id="rId8"/>
    <p:sldLayoutId id="2147484001" r:id="rId9"/>
    <p:sldLayoutId id="2147484002" r:id="rId10"/>
    <p:sldLayoutId id="2147484003" r:id="rId11"/>
    <p:sldLayoutId id="2147484004" r:id="rId12"/>
    <p:sldLayoutId id="2147484005" r:id="rId13"/>
    <p:sldLayoutId id="2147484006" r:id="rId14"/>
  </p:sldLayoutIdLst>
  <p:hf sldNum="0" hdr="0" ftr="0"/>
  <p:txStyles>
    <p:titleStyle>
      <a:lvl1pPr marL="0" indent="0" algn="l" rtl="0" eaLnBrk="1" fontAlgn="base" hangingPunct="1">
        <a:lnSpc>
          <a:spcPct val="88000"/>
        </a:lnSpc>
        <a:spcBef>
          <a:spcPct val="0"/>
        </a:spcBef>
        <a:spcAft>
          <a:spcPct val="0"/>
        </a:spcAft>
        <a:defRPr lang="en-GB" altLang="ja-JP" sz="2200" b="0" kern="1200" cap="all" baseline="0" dirty="0" smtClean="0">
          <a:solidFill>
            <a:schemeClr val="bg2"/>
          </a:solidFill>
          <a:effectLst/>
          <a:latin typeface="+mn-lt"/>
          <a:ea typeface="+mj-ea"/>
          <a:cs typeface="+mj-cs"/>
          <a:sym typeface="+mj-lt"/>
        </a:defRPr>
      </a:lvl1pPr>
      <a:lvl2pPr algn="l" rtl="0" eaLnBrk="1" fontAlgn="base" hangingPunct="1">
        <a:lnSpc>
          <a:spcPct val="88000"/>
        </a:lnSpc>
        <a:spcBef>
          <a:spcPct val="0"/>
        </a:spcBef>
        <a:spcAft>
          <a:spcPct val="0"/>
        </a:spcAft>
        <a:defRPr>
          <a:solidFill>
            <a:srgbClr val="002C77"/>
          </a:solidFill>
          <a:latin typeface="Arial" charset="0"/>
          <a:cs typeface="Arial" charset="0"/>
        </a:defRPr>
      </a:lvl2pPr>
      <a:lvl3pPr algn="l" rtl="0" eaLnBrk="1" fontAlgn="base" hangingPunct="1">
        <a:lnSpc>
          <a:spcPct val="88000"/>
        </a:lnSpc>
        <a:spcBef>
          <a:spcPct val="0"/>
        </a:spcBef>
        <a:spcAft>
          <a:spcPct val="0"/>
        </a:spcAft>
        <a:defRPr>
          <a:solidFill>
            <a:srgbClr val="002C77"/>
          </a:solidFill>
          <a:latin typeface="Arial" charset="0"/>
          <a:cs typeface="Arial" charset="0"/>
        </a:defRPr>
      </a:lvl3pPr>
      <a:lvl4pPr algn="l" rtl="0" eaLnBrk="1" fontAlgn="base" hangingPunct="1">
        <a:lnSpc>
          <a:spcPct val="88000"/>
        </a:lnSpc>
        <a:spcBef>
          <a:spcPct val="0"/>
        </a:spcBef>
        <a:spcAft>
          <a:spcPct val="0"/>
        </a:spcAft>
        <a:defRPr>
          <a:solidFill>
            <a:srgbClr val="002C77"/>
          </a:solidFill>
          <a:latin typeface="Arial" charset="0"/>
          <a:cs typeface="Arial" charset="0"/>
        </a:defRPr>
      </a:lvl4pPr>
      <a:lvl5pPr algn="l" rtl="0" eaLnBrk="1" fontAlgn="base" hangingPunct="1">
        <a:lnSpc>
          <a:spcPct val="88000"/>
        </a:lnSpc>
        <a:spcBef>
          <a:spcPct val="0"/>
        </a:spcBef>
        <a:spcAft>
          <a:spcPct val="0"/>
        </a:spcAft>
        <a:defRPr>
          <a:solidFill>
            <a:srgbClr val="002C77"/>
          </a:solidFill>
          <a:latin typeface="Arial" charset="0"/>
          <a:cs typeface="Arial" charset="0"/>
        </a:defRPr>
      </a:lvl5pPr>
      <a:lvl6pPr marL="457200" algn="l" rtl="0" eaLnBrk="1" fontAlgn="base" hangingPunct="1">
        <a:lnSpc>
          <a:spcPct val="88000"/>
        </a:lnSpc>
        <a:spcBef>
          <a:spcPct val="0"/>
        </a:spcBef>
        <a:spcAft>
          <a:spcPct val="0"/>
        </a:spcAft>
        <a:defRPr>
          <a:solidFill>
            <a:srgbClr val="002C77"/>
          </a:solidFill>
          <a:latin typeface="Arial" charset="0"/>
          <a:cs typeface="Arial" charset="0"/>
        </a:defRPr>
      </a:lvl6pPr>
      <a:lvl7pPr marL="914401" algn="l" rtl="0" eaLnBrk="1" fontAlgn="base" hangingPunct="1">
        <a:lnSpc>
          <a:spcPct val="88000"/>
        </a:lnSpc>
        <a:spcBef>
          <a:spcPct val="0"/>
        </a:spcBef>
        <a:spcAft>
          <a:spcPct val="0"/>
        </a:spcAft>
        <a:defRPr>
          <a:solidFill>
            <a:srgbClr val="002C77"/>
          </a:solidFill>
          <a:latin typeface="Arial" charset="0"/>
          <a:cs typeface="Arial" charset="0"/>
        </a:defRPr>
      </a:lvl7pPr>
      <a:lvl8pPr marL="1371601" algn="l" rtl="0" eaLnBrk="1" fontAlgn="base" hangingPunct="1">
        <a:lnSpc>
          <a:spcPct val="88000"/>
        </a:lnSpc>
        <a:spcBef>
          <a:spcPct val="0"/>
        </a:spcBef>
        <a:spcAft>
          <a:spcPct val="0"/>
        </a:spcAft>
        <a:defRPr>
          <a:solidFill>
            <a:srgbClr val="002C77"/>
          </a:solidFill>
          <a:latin typeface="Arial" charset="0"/>
          <a:cs typeface="Arial" charset="0"/>
        </a:defRPr>
      </a:lvl8pPr>
      <a:lvl9pPr marL="1828800" algn="l" rtl="0" eaLnBrk="1" fontAlgn="base" hangingPunct="1">
        <a:lnSpc>
          <a:spcPct val="88000"/>
        </a:lnSpc>
        <a:spcBef>
          <a:spcPct val="0"/>
        </a:spcBef>
        <a:spcAft>
          <a:spcPct val="0"/>
        </a:spcAft>
        <a:defRPr>
          <a:solidFill>
            <a:srgbClr val="002C77"/>
          </a:solidFill>
          <a:latin typeface="Arial" charset="0"/>
          <a:cs typeface="Arial" charset="0"/>
        </a:defRPr>
      </a:lvl9pPr>
    </p:titleStyle>
    <p:bodyStyle>
      <a:lvl1pPr marL="180000" indent="-180000" algn="l" rtl="0" eaLnBrk="1" fontAlgn="base" hangingPunct="1">
        <a:spcBef>
          <a:spcPts val="700"/>
        </a:spcBef>
        <a:spcAft>
          <a:spcPts val="0"/>
        </a:spcAft>
        <a:buChar char="•"/>
        <a:defRPr sz="1400">
          <a:solidFill>
            <a:schemeClr val="tx1"/>
          </a:solidFill>
          <a:latin typeface="+mn-lt"/>
          <a:ea typeface="+mn-ea"/>
          <a:cs typeface="+mn-cs"/>
          <a:sym typeface="+mn-lt"/>
        </a:defRPr>
      </a:lvl1pPr>
      <a:lvl2pPr marL="360000" indent="-180000" algn="l" rtl="0" eaLnBrk="1" fontAlgn="base" hangingPunct="1">
        <a:spcBef>
          <a:spcPts val="300"/>
        </a:spcBef>
        <a:spcAft>
          <a:spcPts val="0"/>
        </a:spcAft>
        <a:buFont typeface="Arial" charset="0"/>
        <a:buChar char="–"/>
        <a:defRPr sz="1400" baseline="0">
          <a:solidFill>
            <a:schemeClr val="tx1"/>
          </a:solidFill>
          <a:latin typeface="+mn-lt"/>
          <a:ea typeface="+mn-ea"/>
          <a:cs typeface="+mn-cs"/>
          <a:sym typeface="+mn-lt"/>
        </a:defRPr>
      </a:lvl2pPr>
      <a:lvl3pPr marL="540000" indent="-179388" algn="l" rtl="0" eaLnBrk="1" fontAlgn="base" hangingPunct="1">
        <a:spcBef>
          <a:spcPts val="300"/>
        </a:spcBef>
        <a:spcAft>
          <a:spcPts val="0"/>
        </a:spcAft>
        <a:buFont typeface="Arial" charset="0"/>
        <a:buChar char="-"/>
        <a:defRPr sz="1400">
          <a:solidFill>
            <a:schemeClr val="tx1"/>
          </a:solidFill>
          <a:latin typeface="+mn-lt"/>
          <a:ea typeface="+mn-ea"/>
          <a:cs typeface="+mn-cs"/>
          <a:sym typeface="+mn-lt"/>
        </a:defRPr>
      </a:lvl3pPr>
      <a:lvl4pPr marL="720000" indent="-179388" algn="l" rtl="0" eaLnBrk="1" fontAlgn="base" hangingPunct="1">
        <a:spcBef>
          <a:spcPts val="300"/>
        </a:spcBef>
        <a:spcAft>
          <a:spcPts val="0"/>
        </a:spcAft>
        <a:buFont typeface="Arial" charset="0"/>
        <a:buChar char="-"/>
        <a:defRPr sz="1400">
          <a:solidFill>
            <a:schemeClr val="tx1"/>
          </a:solidFill>
          <a:latin typeface="+mn-lt"/>
          <a:ea typeface="+mn-ea"/>
          <a:cs typeface="+mn-cs"/>
          <a:sym typeface="+mn-lt"/>
        </a:defRPr>
      </a:lvl4pPr>
      <a:lvl5pPr marL="900000" indent="-180000" algn="l" rtl="0" eaLnBrk="1" fontAlgn="base" hangingPunct="1">
        <a:spcBef>
          <a:spcPts val="300"/>
        </a:spcBef>
        <a:spcAft>
          <a:spcPts val="0"/>
        </a:spcAft>
        <a:buFont typeface="Arial" panose="020B0604020202020204" pitchFamily="34" charset="0"/>
        <a:buChar char="-"/>
        <a:defRPr sz="1400">
          <a:solidFill>
            <a:schemeClr val="tx1"/>
          </a:solidFill>
          <a:latin typeface="+mn-lt"/>
          <a:ea typeface="+mn-ea"/>
          <a:cs typeface="+mn-cs"/>
          <a:sym typeface="+mn-lt"/>
        </a:defRPr>
      </a:lvl5pPr>
      <a:lvl6pPr marL="1080000" indent="-180000" algn="l" rtl="0" eaLnBrk="1" fontAlgn="base" hangingPunct="1">
        <a:spcBef>
          <a:spcPts val="300"/>
        </a:spcBef>
        <a:spcAft>
          <a:spcPts val="0"/>
        </a:spcAft>
        <a:buFont typeface="Arial" charset="0"/>
        <a:buChar char="-"/>
        <a:defRPr sz="1400" baseline="0">
          <a:solidFill>
            <a:schemeClr val="tx1"/>
          </a:solidFill>
          <a:latin typeface="+mn-lt"/>
          <a:cs typeface="+mn-cs"/>
        </a:defRPr>
      </a:lvl6pPr>
      <a:lvl7pPr marL="1260001" indent="-180000" algn="l" rtl="0" eaLnBrk="1" fontAlgn="base" hangingPunct="1">
        <a:spcBef>
          <a:spcPts val="300"/>
        </a:spcBef>
        <a:spcAft>
          <a:spcPts val="0"/>
        </a:spcAft>
        <a:buFont typeface="Arial" charset="0"/>
        <a:buChar char="-"/>
        <a:defRPr sz="1400">
          <a:solidFill>
            <a:schemeClr val="tx1"/>
          </a:solidFill>
          <a:latin typeface="+mn-lt"/>
          <a:cs typeface="+mn-cs"/>
        </a:defRPr>
      </a:lvl7pPr>
      <a:lvl8pPr marL="1440001" indent="-180000" algn="l" rtl="0" eaLnBrk="1" fontAlgn="base" hangingPunct="1">
        <a:spcBef>
          <a:spcPts val="300"/>
        </a:spcBef>
        <a:spcAft>
          <a:spcPts val="0"/>
        </a:spcAft>
        <a:buFont typeface="Arial" charset="0"/>
        <a:buChar char="-"/>
        <a:defRPr sz="1400">
          <a:solidFill>
            <a:schemeClr val="tx1"/>
          </a:solidFill>
          <a:latin typeface="+mn-lt"/>
          <a:cs typeface="+mn-cs"/>
        </a:defRPr>
      </a:lvl8pPr>
      <a:lvl9pPr marL="1620001" indent="-180000" algn="l" rtl="0" eaLnBrk="1" fontAlgn="base" hangingPunct="1">
        <a:spcBef>
          <a:spcPts val="300"/>
        </a:spcBef>
        <a:spcAft>
          <a:spcPts val="0"/>
        </a:spcAft>
        <a:buFont typeface="Arial" charset="0"/>
        <a:buChar char="-"/>
        <a:defRPr sz="1400" baseline="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1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1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1" algn="l" defTabSz="914401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1" algn="l" defTabSz="914401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1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1" algn="l" defTabSz="914401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1" algn="l" defTabSz="914401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2" algn="l" defTabSz="914401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2" algn="l" defTabSz="91440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795" userDrawn="1">
          <p15:clr>
            <a:srgbClr val="F26B43"/>
          </p15:clr>
        </p15:guide>
        <p15:guide id="2" pos="3840" userDrawn="1">
          <p15:clr>
            <a:srgbClr val="F26B43"/>
          </p15:clr>
        </p15:guide>
        <p15:guide id="3" orient="horz" pos="3887" userDrawn="1">
          <p15:clr>
            <a:srgbClr val="F26B43"/>
          </p15:clr>
        </p15:guide>
        <p15:guide id="4" pos="180" userDrawn="1">
          <p15:clr>
            <a:srgbClr val="F26B43"/>
          </p15:clr>
        </p15:guide>
        <p15:guide id="5" pos="7507" userDrawn="1">
          <p15:clr>
            <a:srgbClr val="F26B43"/>
          </p15:clr>
        </p15:guide>
        <p15:guide id="6" orient="horz" pos="240" userDrawn="1">
          <p15:clr>
            <a:srgbClr val="F26B43"/>
          </p15:clr>
        </p15:guide>
        <p15:guide id="7" pos="4027" userDrawn="1">
          <p15:clr>
            <a:srgbClr val="F26B43"/>
          </p15:clr>
        </p15:guide>
        <p15:guide id="8" pos="3653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5.xml"/><Relationship Id="rId2" Type="http://schemas.openxmlformats.org/officeDocument/2006/relationships/tags" Target="../tags/tag76.xml"/><Relationship Id="rId1" Type="http://schemas.openxmlformats.org/officeDocument/2006/relationships/vmlDrawing" Target="../drawings/vmlDrawing2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5.bin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79613DC5-192D-4F69-B3BB-0D710F3ADA2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410110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29"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Subtitle 4">
            <a:extLst>
              <a:ext uri="{FF2B5EF4-FFF2-40B4-BE49-F238E27FC236}">
                <a16:creationId xmlns:a16="http://schemas.microsoft.com/office/drawing/2014/main" id="{8A0246DF-CCA5-4A42-B823-FC95918B3081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s-CO" dirty="0" err="1">
                <a:solidFill>
                  <a:schemeClr val="bg2"/>
                </a:solidFill>
              </a:rPr>
              <a:t>July</a:t>
            </a:r>
            <a:r>
              <a:rPr lang="es-CO" dirty="0">
                <a:solidFill>
                  <a:schemeClr val="bg2"/>
                </a:solidFill>
              </a:rPr>
              <a:t> 17, 2019</a:t>
            </a:r>
            <a:endParaRPr lang="en-US" dirty="0">
              <a:solidFill>
                <a:schemeClr val="bg2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30034444-9D7D-41D6-A891-3A8F8DA8008B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>
                <a:solidFill>
                  <a:schemeClr val="bg2"/>
                </a:solidFill>
              </a:rPr>
              <a:t>Bringing it all together: designing a bankable auction package</a:t>
            </a:r>
          </a:p>
        </p:txBody>
      </p:sp>
    </p:spTree>
    <p:extLst>
      <p:ext uri="{BB962C8B-B14F-4D97-AF65-F5344CB8AC3E}">
        <p14:creationId xmlns:p14="http://schemas.microsoft.com/office/powerpoint/2010/main" val="269984656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6A6A54D-025A-48EA-AEE8-0C7F2B1650F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42782948-4DBE-204D-AB9E-B65E067054AE}" type="slidenum">
              <a:rPr lang="en-US" smtClean="0"/>
              <a:pPr/>
              <a:t>2</a:t>
            </a:fld>
            <a:endParaRPr lang="en-US" dirty="0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880A1388-97A1-4C85-A14C-97A36F1D52DF}"/>
              </a:ext>
            </a:extLst>
          </p:cNvPr>
          <p:cNvSpPr/>
          <p:nvPr/>
        </p:nvSpPr>
        <p:spPr>
          <a:xfrm>
            <a:off x="2362200" y="5398858"/>
            <a:ext cx="7620000" cy="95097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 dirty="0">
              <a:solidFill>
                <a:schemeClr val="accent2"/>
              </a:solidFill>
            </a:endParaRPr>
          </a:p>
          <a:p>
            <a:r>
              <a:rPr lang="en-US" sz="2000" dirty="0">
                <a:solidFill>
                  <a:schemeClr val="accent2"/>
                </a:solidFill>
              </a:rPr>
              <a:t>De-risking mechanism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635C5B"/>
                </a:solidFill>
              </a:rPr>
              <a:t>Stapled financing: principal, interest, maturity pre-arrange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635C5B"/>
                </a:solidFill>
              </a:rPr>
              <a:t>Guarantees and insurance to cover situations that affect project revenue</a:t>
            </a:r>
          </a:p>
          <a:p>
            <a:pPr algn="ctr"/>
            <a:endParaRPr lang="en-US" dirty="0">
              <a:solidFill>
                <a:srgbClr val="635C5B"/>
              </a:solidFill>
            </a:endParaRPr>
          </a:p>
        </p:txBody>
      </p:sp>
      <p:sp>
        <p:nvSpPr>
          <p:cNvPr id="18" name="Arrow: Right 17">
            <a:extLst>
              <a:ext uri="{FF2B5EF4-FFF2-40B4-BE49-F238E27FC236}">
                <a16:creationId xmlns:a16="http://schemas.microsoft.com/office/drawing/2014/main" id="{416677FC-A98E-499E-AE43-49CEB0B5482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1829104" y="5780694"/>
            <a:ext cx="381000" cy="184666"/>
          </a:xfrm>
          <a:prstGeom prst="rightArrow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A962EF74-CB51-4FE8-97CA-C1146E355F5F}"/>
              </a:ext>
            </a:extLst>
          </p:cNvPr>
          <p:cNvSpPr/>
          <p:nvPr/>
        </p:nvSpPr>
        <p:spPr>
          <a:xfrm>
            <a:off x="2362200" y="4339792"/>
            <a:ext cx="7620000" cy="95097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 dirty="0">
              <a:solidFill>
                <a:schemeClr val="accent2"/>
              </a:solidFill>
            </a:endParaRPr>
          </a:p>
          <a:p>
            <a:r>
              <a:rPr lang="en-US" sz="2000" dirty="0">
                <a:solidFill>
                  <a:schemeClr val="accent2"/>
                </a:solidFill>
              </a:rPr>
              <a:t>Standardized documentat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635C5B"/>
                </a:solidFill>
              </a:rPr>
              <a:t>PPA gives certainty about the amount and price of generat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635C5B"/>
                </a:solidFill>
              </a:rPr>
              <a:t>RfP incorporates design elements, makes the rules of game known to bidders</a:t>
            </a:r>
          </a:p>
          <a:p>
            <a:pPr algn="ctr"/>
            <a:endParaRPr lang="en-US" dirty="0">
              <a:solidFill>
                <a:srgbClr val="635C5B"/>
              </a:solidFill>
            </a:endParaRPr>
          </a:p>
        </p:txBody>
      </p:sp>
      <p:sp>
        <p:nvSpPr>
          <p:cNvPr id="17" name="Arrow: Right 16">
            <a:extLst>
              <a:ext uri="{FF2B5EF4-FFF2-40B4-BE49-F238E27FC236}">
                <a16:creationId xmlns:a16="http://schemas.microsoft.com/office/drawing/2014/main" id="{2BCC559D-F081-4377-9192-769E6D3E635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1811519" y="4722947"/>
            <a:ext cx="381000" cy="184666"/>
          </a:xfrm>
          <a:prstGeom prst="rightArrow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03023334-B77D-4A19-898B-674F8CFD4F94}"/>
              </a:ext>
            </a:extLst>
          </p:cNvPr>
          <p:cNvSpPr/>
          <p:nvPr/>
        </p:nvSpPr>
        <p:spPr>
          <a:xfrm>
            <a:off x="2362200" y="3276601"/>
            <a:ext cx="7620304" cy="95410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000" dirty="0">
                <a:solidFill>
                  <a:schemeClr val="accent2"/>
                </a:solidFill>
              </a:rPr>
              <a:t>Auction desig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635C5B"/>
                </a:solidFill>
              </a:rPr>
              <a:t>Technical criteria help banks assess good quality project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635C5B"/>
                </a:solidFill>
              </a:rPr>
              <a:t>Contracting structures (e.g. ESIA, land lease) can make cash flow more stable</a:t>
            </a:r>
          </a:p>
        </p:txBody>
      </p:sp>
      <p:sp>
        <p:nvSpPr>
          <p:cNvPr id="16" name="Arrow: Right 15">
            <a:extLst>
              <a:ext uri="{FF2B5EF4-FFF2-40B4-BE49-F238E27FC236}">
                <a16:creationId xmlns:a16="http://schemas.microsoft.com/office/drawing/2014/main" id="{B056BA6E-8763-4202-8AA4-D5974C3D499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1811519" y="3655431"/>
            <a:ext cx="381000" cy="184666"/>
          </a:xfrm>
          <a:prstGeom prst="rightArrow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B39E619B-836C-4F2F-8C1A-01BCC7B3220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Cash flow of the project is the main source of collateral and loan repayment </a:t>
            </a:r>
            <a:r>
              <a:rPr lang="en-US" dirty="0">
                <a:sym typeface="Wingdings" panose="05000000000000000000" pitchFamily="2" charset="2"/>
              </a:rPr>
              <a:t>(value of the operating project is higher than value of asset).</a:t>
            </a:r>
            <a:endParaRPr lang="en-US" dirty="0"/>
          </a:p>
          <a:p>
            <a:r>
              <a:rPr lang="en-US" dirty="0"/>
              <a:t>Willingness to extend financing to bidders depends on stable, forecastable project cash flows </a:t>
            </a:r>
            <a:r>
              <a:rPr lang="en-US" dirty="0">
                <a:sym typeface="Wingdings" panose="05000000000000000000" pitchFamily="2" charset="2"/>
              </a:rPr>
              <a:t>(i.e. price and generation amount)</a:t>
            </a:r>
            <a:endParaRPr lang="en-US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065FDF17-94F5-4D64-A401-AD8A1F44FFB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14805" y="417493"/>
            <a:ext cx="10363200" cy="954107"/>
          </a:xfrm>
        </p:spPr>
        <p:txBody>
          <a:bodyPr/>
          <a:lstStyle/>
          <a:p>
            <a:r>
              <a:rPr lang="en-US" dirty="0">
                <a:solidFill>
                  <a:schemeClr val="bg2"/>
                </a:solidFill>
              </a:rPr>
              <a:t>What:  A bankable auction package determines the willingness of lenders to extend financing</a:t>
            </a:r>
          </a:p>
        </p:txBody>
      </p:sp>
    </p:spTree>
    <p:extLst>
      <p:ext uri="{BB962C8B-B14F-4D97-AF65-F5344CB8AC3E}">
        <p14:creationId xmlns:p14="http://schemas.microsoft.com/office/powerpoint/2010/main" val="38334075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6A6A54D-025A-48EA-AEE8-0C7F2B1650F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42782948-4DBE-204D-AB9E-B65E067054AE}" type="slidenum">
              <a:rPr lang="en-US" smtClean="0"/>
              <a:pPr/>
              <a:t>3</a:t>
            </a:fld>
            <a:endParaRPr lang="en-US" dirty="0"/>
          </a:p>
        </p:txBody>
      </p:sp>
      <p:sp>
        <p:nvSpPr>
          <p:cNvPr id="11" name="Content Placeholder 1">
            <a:extLst>
              <a:ext uri="{FF2B5EF4-FFF2-40B4-BE49-F238E27FC236}">
                <a16:creationId xmlns:a16="http://schemas.microsoft.com/office/drawing/2014/main" id="{90F5C8B5-B77B-4CDA-9AC3-FFA6AB855082}"/>
              </a:ext>
            </a:extLst>
          </p:cNvPr>
          <p:cNvSpPr txBox="1">
            <a:spLocks/>
          </p:cNvSpPr>
          <p:nvPr/>
        </p:nvSpPr>
        <p:spPr>
          <a:xfrm>
            <a:off x="3741507" y="4934092"/>
            <a:ext cx="4114800" cy="1524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2"/>
            </a:solidFill>
          </a:ln>
        </p:spPr>
        <p:txBody>
          <a:bodyPr vert="horz" lIns="91440" tIns="45720" rIns="91440" bIns="45720" rtlCol="0">
            <a:normAutofit fontScale="62500" lnSpcReduction="20000"/>
          </a:bodyPr>
          <a:lstStyle>
            <a:lvl1pPr marL="230188" indent="-230188" algn="l" defTabSz="457200" rtl="0" eaLnBrk="1" latinLnBrk="0" hangingPunct="1">
              <a:spcBef>
                <a:spcPts val="0"/>
              </a:spcBef>
              <a:spcAft>
                <a:spcPts val="1200"/>
              </a:spcAft>
              <a:buFont typeface="Arial"/>
              <a:buChar char="•"/>
              <a:defRPr sz="2000" b="0" i="0" kern="1200">
                <a:solidFill>
                  <a:srgbClr val="635C5B"/>
                </a:solidFill>
                <a:latin typeface="Gill Sans MT"/>
                <a:ea typeface="+mn-ea"/>
                <a:cs typeface="Gill Sans MT"/>
              </a:defRPr>
            </a:lvl1pPr>
            <a:lvl2pPr marL="684213" indent="-230188" algn="l" defTabSz="457200" rtl="0" eaLnBrk="1" latinLnBrk="0" hangingPunct="1">
              <a:spcBef>
                <a:spcPts val="0"/>
              </a:spcBef>
              <a:spcAft>
                <a:spcPts val="1200"/>
              </a:spcAft>
              <a:buFont typeface="Arial"/>
              <a:buChar char="–"/>
              <a:defRPr sz="2000" b="0" i="0" kern="1200">
                <a:solidFill>
                  <a:srgbClr val="635C5B"/>
                </a:solidFill>
                <a:latin typeface="Gill Sans MT"/>
                <a:ea typeface="+mn-ea"/>
                <a:cs typeface="Gill Sans MT"/>
              </a:defRPr>
            </a:lvl2pPr>
            <a:lvl3pPr marL="914400" indent="-230188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800" b="0" i="0" kern="1200">
                <a:solidFill>
                  <a:srgbClr val="6C6463"/>
                </a:solidFill>
                <a:latin typeface="Gill Sans MT"/>
                <a:ea typeface="+mn-ea"/>
                <a:cs typeface="Gill Sans MT"/>
              </a:defRPr>
            </a:lvl3pPr>
            <a:lvl4pPr marL="1146175" indent="-231775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1600" b="0" i="0" kern="1200">
                <a:solidFill>
                  <a:srgbClr val="6C6463"/>
                </a:solidFill>
                <a:latin typeface="Gill Sans MT"/>
                <a:ea typeface="+mn-ea"/>
                <a:cs typeface="Gill Sans MT"/>
              </a:defRPr>
            </a:lvl4pPr>
            <a:lvl5pPr marL="1255713" indent="-230188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1400" b="0" i="0" kern="1200">
                <a:solidFill>
                  <a:srgbClr val="6C6463"/>
                </a:solidFill>
                <a:latin typeface="Gill Sans MT"/>
                <a:ea typeface="+mn-ea"/>
                <a:cs typeface="Gill Sans MT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s-CO" sz="3200" b="1" dirty="0">
                <a:solidFill>
                  <a:schemeClr val="bg2"/>
                </a:solidFill>
              </a:rPr>
              <a:t>Buyer (Government)</a:t>
            </a:r>
            <a:endParaRPr lang="en-US" sz="3200" b="1" dirty="0">
              <a:solidFill>
                <a:schemeClr val="bg2"/>
              </a:solidFill>
            </a:endParaRPr>
          </a:p>
          <a:p>
            <a:pPr marL="0" indent="0" algn="ctr">
              <a:buNone/>
            </a:pPr>
            <a:r>
              <a:rPr lang="en-US" sz="3200" b="1" dirty="0"/>
              <a:t>Lower cost of finance </a:t>
            </a:r>
          </a:p>
          <a:p>
            <a:pPr algn="ctr">
              <a:buFont typeface="Wingdings" panose="05000000000000000000" pitchFamily="2" charset="2"/>
              <a:buChar char="à"/>
            </a:pPr>
            <a:r>
              <a:rPr lang="en-US" sz="3200" dirty="0">
                <a:sym typeface="Wingdings" panose="05000000000000000000" pitchFamily="2" charset="2"/>
              </a:rPr>
              <a:t> (potentially) lower bids </a:t>
            </a:r>
          </a:p>
          <a:p>
            <a:pPr algn="ctr">
              <a:buFont typeface="Wingdings" panose="05000000000000000000" pitchFamily="2" charset="2"/>
              <a:buChar char="à"/>
            </a:pPr>
            <a:r>
              <a:rPr lang="en-US" sz="3200" b="1" dirty="0">
                <a:sym typeface="Wingdings" panose="05000000000000000000" pitchFamily="2" charset="2"/>
              </a:rPr>
              <a:t> lower cost of electricity</a:t>
            </a:r>
            <a:endParaRPr lang="en-US" b="1" dirty="0"/>
          </a:p>
        </p:txBody>
      </p:sp>
      <p:sp>
        <p:nvSpPr>
          <p:cNvPr id="12" name="Arrow: Right 11">
            <a:extLst>
              <a:ext uri="{FF2B5EF4-FFF2-40B4-BE49-F238E27FC236}">
                <a16:creationId xmlns:a16="http://schemas.microsoft.com/office/drawing/2014/main" id="{0893FBD5-3005-4043-8212-12168DCD3A9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 rot="5400000">
            <a:off x="5402274" y="4187207"/>
            <a:ext cx="793265" cy="535569"/>
          </a:xfrm>
          <a:prstGeom prst="rightArrow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B39E619B-836C-4F2F-8C1A-01BCC7B3220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s-CO" dirty="0"/>
              <a:t>Producer</a:t>
            </a:r>
            <a:endParaRPr lang="en-US" dirty="0"/>
          </a:p>
          <a:p>
            <a:r>
              <a:rPr lang="en-US" dirty="0"/>
              <a:t>Stability and magnitude of cash-flow determines leverage </a:t>
            </a:r>
            <a:br>
              <a:rPr lang="en-US" dirty="0"/>
            </a:br>
            <a:r>
              <a:rPr lang="en-US" dirty="0"/>
              <a:t>(how much debt can the project viable absorb?)</a:t>
            </a:r>
          </a:p>
          <a:p>
            <a:r>
              <a:rPr lang="en-US" dirty="0"/>
              <a:t>Bankable auction package helps secure project finance at more favorable conditions (e.g. principal, interest rate, maturity)</a:t>
            </a:r>
          </a:p>
          <a:p>
            <a:r>
              <a:rPr lang="en-US" dirty="0"/>
              <a:t>Better financing conditions </a:t>
            </a:r>
            <a:r>
              <a:rPr lang="en-US" dirty="0">
                <a:sym typeface="Wingdings" panose="05000000000000000000" pitchFamily="2" charset="2"/>
              </a:rPr>
              <a:t> lower cost of finance</a:t>
            </a:r>
            <a:endParaRPr lang="en-US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065FDF17-94F5-4D64-A401-AD8A1F44FFB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14805" y="417493"/>
            <a:ext cx="10363200" cy="954107"/>
          </a:xfrm>
        </p:spPr>
        <p:txBody>
          <a:bodyPr/>
          <a:lstStyle/>
          <a:p>
            <a:r>
              <a:rPr lang="en-US" dirty="0">
                <a:solidFill>
                  <a:schemeClr val="bg2"/>
                </a:solidFill>
              </a:rPr>
              <a:t>Why:  a bankable auction package can lower cost of finance and price paid for electricity</a:t>
            </a:r>
          </a:p>
        </p:txBody>
      </p:sp>
    </p:spTree>
    <p:extLst>
      <p:ext uri="{BB962C8B-B14F-4D97-AF65-F5344CB8AC3E}">
        <p14:creationId xmlns:p14="http://schemas.microsoft.com/office/powerpoint/2010/main" val="144935717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FBD32F5-9EA4-49D9-945E-07EB50AB636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42782948-4DBE-204D-AB9E-B65E067054AE}" type="slidenum">
              <a:rPr lang="en-US"/>
              <a:pPr/>
              <a:t>4</a:t>
            </a:fld>
            <a:endParaRPr lang="en-US" dirty="0"/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A993F637-EDE8-4262-9964-AC3585EF3A5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14400" y="1600200"/>
            <a:ext cx="10591800" cy="4572000"/>
          </a:xfrm>
        </p:spPr>
        <p:txBody>
          <a:bodyPr>
            <a:normAutofit fontScale="70000" lnSpcReduction="20000"/>
          </a:bodyPr>
          <a:lstStyle/>
          <a:p>
            <a:r>
              <a:rPr lang="en-US" dirty="0"/>
              <a:t>Draft participation documents should be published yearly and include:</a:t>
            </a:r>
          </a:p>
          <a:p>
            <a:pPr lvl="1"/>
            <a:r>
              <a:rPr lang="en-US" dirty="0"/>
              <a:t>draft Request for Qualification (RfQ)</a:t>
            </a:r>
          </a:p>
          <a:p>
            <a:pPr lvl="1"/>
            <a:r>
              <a:rPr lang="en-US" dirty="0"/>
              <a:t>draft Request for Proposal (RfP)</a:t>
            </a:r>
          </a:p>
          <a:p>
            <a:pPr lvl="1"/>
            <a:r>
              <a:rPr lang="en-US" dirty="0"/>
              <a:t>Power Purchase Agreement (PPA) </a:t>
            </a:r>
          </a:p>
          <a:p>
            <a:pPr lvl="1"/>
            <a:r>
              <a:rPr lang="en-US" dirty="0"/>
              <a:t>Implementation Agreement (IA)  </a:t>
            </a:r>
          </a:p>
          <a:p>
            <a:r>
              <a:rPr lang="en-US" dirty="0"/>
              <a:t>A final non-negotiable contract should be published to </a:t>
            </a:r>
          </a:p>
          <a:p>
            <a:pPr lvl="1"/>
            <a:r>
              <a:rPr lang="en-US" dirty="0"/>
              <a:t>Construct a bankable PPA, and </a:t>
            </a:r>
          </a:p>
          <a:p>
            <a:pPr lvl="1"/>
            <a:r>
              <a:rPr lang="en-US" dirty="0"/>
              <a:t>Reassure bidders that all auction winners sign the same terms with off-taker (except for offered price)</a:t>
            </a:r>
          </a:p>
          <a:p>
            <a:r>
              <a:rPr lang="en-US" dirty="0"/>
              <a:t>Draft and final versions of the PPA should be published</a:t>
            </a:r>
          </a:p>
          <a:p>
            <a:pPr lvl="1"/>
            <a:r>
              <a:rPr lang="en-US" dirty="0"/>
              <a:t>To help ensure transparency</a:t>
            </a:r>
          </a:p>
          <a:p>
            <a:pPr lvl="1"/>
            <a:r>
              <a:rPr lang="en-US" dirty="0"/>
              <a:t>Consulting the private sector, banks, and investors for feedback on a draft PPA before publication is advisable</a:t>
            </a:r>
          </a:p>
          <a:p>
            <a:r>
              <a:rPr lang="en-US" dirty="0"/>
              <a:t>Considerations</a:t>
            </a:r>
          </a:p>
          <a:p>
            <a:pPr lvl="1"/>
            <a:r>
              <a:rPr lang="en-US" dirty="0"/>
              <a:t>Multiple rounds of procurement give more certainty to markets, allow for learning effects</a:t>
            </a:r>
          </a:p>
          <a:p>
            <a:endParaRPr lang="en-US" dirty="0"/>
          </a:p>
          <a:p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6B942D72-9EA2-44AE-89A1-CF21399E844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/>
              <a:t>How: Standardized PPA</a:t>
            </a:r>
          </a:p>
        </p:txBody>
      </p:sp>
    </p:spTree>
    <p:extLst>
      <p:ext uri="{BB962C8B-B14F-4D97-AF65-F5344CB8AC3E}">
        <p14:creationId xmlns:p14="http://schemas.microsoft.com/office/powerpoint/2010/main" val="272779662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FBD32F5-9EA4-49D9-945E-07EB50AB636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42782948-4DBE-204D-AB9E-B65E067054AE}" type="slidenum">
              <a:rPr lang="en-US"/>
              <a:pPr/>
              <a:t>5</a:t>
            </a:fld>
            <a:endParaRPr lang="en-US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0868E7BB-0225-4574-9758-DE49CB08EE5C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 txBox="1"/>
          <p:nvPr/>
        </p:nvSpPr>
        <p:spPr>
          <a:xfrm>
            <a:off x="2440354" y="6248401"/>
            <a:ext cx="342900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de-DE" sz="1000" dirty="0">
                <a:solidFill>
                  <a:srgbClr val="635C5B"/>
                </a:solidFill>
                <a:latin typeface="Gill Sans MT"/>
              </a:rPr>
              <a:t>Source: IRENA 2018</a:t>
            </a:r>
            <a:endParaRPr lang="en-US" sz="1000" dirty="0">
              <a:solidFill>
                <a:srgbClr val="635C5B"/>
              </a:solidFill>
              <a:latin typeface="Gill Sans MT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A3AD7669-412E-4AB5-BB04-E915C0388A38}"/>
              </a:ext>
            </a:extLst>
          </p:cNvPr>
          <p:cNvSpPr/>
          <p:nvPr/>
        </p:nvSpPr>
        <p:spPr>
          <a:xfrm>
            <a:off x="2473570" y="4540055"/>
            <a:ext cx="7356231" cy="1446550"/>
          </a:xfrm>
          <a:prstGeom prst="rect">
            <a:avLst/>
          </a:prstGeom>
          <a:ln>
            <a:solidFill>
              <a:schemeClr val="accent3"/>
            </a:solidFill>
          </a:ln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accent3"/>
                </a:solidFill>
              </a:rPr>
              <a:t>Tranche 1: debt on commercial term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accent3"/>
                </a:solidFill>
              </a:rPr>
              <a:t>Tranche 2: debt on concessional terms based on available grant funding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accent3"/>
                </a:solidFill>
              </a:rPr>
              <a:t>Tranche 3: needs to be sourced by bidders from other financiers, whether commercial banks, export credit agencies or other sources. 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endParaRPr lang="en-US" sz="1600" dirty="0">
              <a:solidFill>
                <a:srgbClr val="635C5B"/>
              </a:solidFill>
              <a:latin typeface="Arial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2E8CC738-8164-420D-9346-85A750112619}"/>
              </a:ext>
            </a:extLst>
          </p:cNvPr>
          <p:cNvSpPr/>
          <p:nvPr/>
        </p:nvSpPr>
        <p:spPr>
          <a:xfrm>
            <a:off x="2473570" y="4191002"/>
            <a:ext cx="7356231" cy="369332"/>
          </a:xfrm>
          <a:prstGeom prst="rect">
            <a:avLst/>
          </a:prstGeom>
          <a:solidFill>
            <a:schemeClr val="accent3"/>
          </a:solidFill>
          <a:ln>
            <a:solidFill>
              <a:schemeClr val="accent3"/>
            </a:solidFill>
          </a:ln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en-US" dirty="0">
                <a:solidFill>
                  <a:srgbClr val="FFFFFF"/>
                </a:solidFill>
                <a:latin typeface="Arial"/>
              </a:rPr>
              <a:t>Example: IFC stapled financing</a:t>
            </a:r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A993F637-EDE8-4262-9964-AC3585EF3A5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Advantages: reduce due diligence for bidders and banks</a:t>
            </a:r>
          </a:p>
          <a:p>
            <a:pPr lvl="1"/>
            <a:r>
              <a:rPr lang="en-US" dirty="0"/>
              <a:t>Bidder: speeds financial closure, especially for new market entrants</a:t>
            </a:r>
          </a:p>
          <a:p>
            <a:pPr lvl="1"/>
            <a:r>
              <a:rPr lang="en-US" dirty="0"/>
              <a:t>Buyer: strengthen the non-negotiable, bankable nature of the contracts offered</a:t>
            </a:r>
          </a:p>
          <a:p>
            <a:r>
              <a:rPr lang="en-US" dirty="0"/>
              <a:t>Stapled financing is offered to all pre-qualified bidders but is not mandatory.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6B942D72-9EA2-44AE-89A1-CF21399E844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/>
              <a:t>How: De-risking mechanism – Stapled financing</a:t>
            </a:r>
          </a:p>
        </p:txBody>
      </p:sp>
    </p:spTree>
    <p:extLst>
      <p:ext uri="{BB962C8B-B14F-4D97-AF65-F5344CB8AC3E}">
        <p14:creationId xmlns:p14="http://schemas.microsoft.com/office/powerpoint/2010/main" val="419512129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FBD32F5-9EA4-49D9-945E-07EB50AB636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42782948-4DBE-204D-AB9E-B65E067054AE}" type="slidenum">
              <a:rPr lang="en-US"/>
              <a:pPr/>
              <a:t>6</a:t>
            </a:fld>
            <a:endParaRPr lang="en-US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0868E7BB-0225-4574-9758-DE49CB08EE5C}"/>
              </a:ext>
            </a:extLst>
          </p:cNvPr>
          <p:cNvSpPr txBox="1"/>
          <p:nvPr/>
        </p:nvSpPr>
        <p:spPr>
          <a:xfrm>
            <a:off x="1676400" y="6444347"/>
            <a:ext cx="342900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de-DE" sz="1000" dirty="0">
                <a:solidFill>
                  <a:srgbClr val="635C5B"/>
                </a:solidFill>
                <a:latin typeface="Gill Sans MT"/>
              </a:rPr>
              <a:t>Source: IRENA 2018</a:t>
            </a:r>
            <a:endParaRPr lang="en-US" sz="1000" dirty="0">
              <a:solidFill>
                <a:srgbClr val="635C5B"/>
              </a:solidFill>
              <a:latin typeface="Gill Sans MT"/>
            </a:endParaRPr>
          </a:p>
        </p:txBody>
      </p:sp>
      <p:graphicFrame>
        <p:nvGraphicFramePr>
          <p:cNvPr id="8" name="Table 7">
            <a:extLst>
              <a:ext uri="{FF2B5EF4-FFF2-40B4-BE49-F238E27FC236}">
                <a16:creationId xmlns:a16="http://schemas.microsoft.com/office/drawing/2014/main" id="{3BE96393-8AC4-4A8C-9BF9-67971BEC069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09865955"/>
              </p:ext>
            </p:extLst>
          </p:nvPr>
        </p:nvGraphicFramePr>
        <p:xfrm>
          <a:off x="1917032" y="1668006"/>
          <a:ext cx="8382000" cy="458039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794000">
                  <a:extLst>
                    <a:ext uri="{9D8B030D-6E8A-4147-A177-3AD203B41FA5}">
                      <a16:colId xmlns:a16="http://schemas.microsoft.com/office/drawing/2014/main" val="1794517172"/>
                    </a:ext>
                  </a:extLst>
                </a:gridCol>
                <a:gridCol w="2794000">
                  <a:extLst>
                    <a:ext uri="{9D8B030D-6E8A-4147-A177-3AD203B41FA5}">
                      <a16:colId xmlns:a16="http://schemas.microsoft.com/office/drawing/2014/main" val="3363931086"/>
                    </a:ext>
                  </a:extLst>
                </a:gridCol>
                <a:gridCol w="2794000">
                  <a:extLst>
                    <a:ext uri="{9D8B030D-6E8A-4147-A177-3AD203B41FA5}">
                      <a16:colId xmlns:a16="http://schemas.microsoft.com/office/drawing/2014/main" val="1156806881"/>
                    </a:ext>
                  </a:extLst>
                </a:gridCol>
              </a:tblGrid>
              <a:tr h="404634">
                <a:tc>
                  <a:txBody>
                    <a:bodyPr/>
                    <a:lstStyle/>
                    <a:p>
                      <a:r>
                        <a:rPr lang="en-US" sz="1600" noProof="0" dirty="0"/>
                        <a:t>Instrument</a:t>
                      </a:r>
                    </a:p>
                  </a:txBody>
                  <a:tcP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noProof="0" dirty="0"/>
                        <a:t>Description</a:t>
                      </a:r>
                    </a:p>
                  </a:txBody>
                  <a:tcP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noProof="0" dirty="0"/>
                        <a:t>Example</a:t>
                      </a:r>
                    </a:p>
                  </a:txBody>
                  <a:tcPr>
                    <a:solidFill>
                      <a:schemeClr val="accent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44616722"/>
                  </a:ext>
                </a:extLst>
              </a:tr>
              <a:tr h="742950">
                <a:tc>
                  <a:txBody>
                    <a:bodyPr/>
                    <a:lstStyle/>
                    <a:p>
                      <a:r>
                        <a:rPr lang="en-US" sz="1600" noProof="0" dirty="0"/>
                        <a:t>Sovereign guarantee/Implementation Agreement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noProof="0" dirty="0"/>
                        <a:t>Ministry of Finance offers to pay off-taker´s payment to projects.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noProof="0" dirty="0"/>
                        <a:t>South Africa, Uganda 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89803136"/>
                  </a:ext>
                </a:extLst>
              </a:tr>
              <a:tr h="742950">
                <a:tc>
                  <a:txBody>
                    <a:bodyPr/>
                    <a:lstStyle/>
                    <a:p>
                      <a:r>
                        <a:rPr lang="en-US" sz="1600" noProof="0" dirty="0"/>
                        <a:t>Government Support Letter/Agreement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noProof="0" dirty="0"/>
                        <a:t>Government supports the company's performance of its obligations and the off-taker  performs its obligations under the PPA (lighter than a guarantee)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noProof="0" dirty="0"/>
                        <a:t>Kenya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18115308"/>
                  </a:ext>
                </a:extLst>
              </a:tr>
              <a:tr h="742950">
                <a:tc>
                  <a:txBody>
                    <a:bodyPr/>
                    <a:lstStyle/>
                    <a:p>
                      <a:r>
                        <a:rPr lang="en-US" sz="1600" noProof="0" dirty="0"/>
                        <a:t>IDA Partial Risk Guarantee</a:t>
                      </a:r>
                    </a:p>
                    <a:p>
                      <a:r>
                        <a:rPr lang="en-US" sz="1600" noProof="0" dirty="0"/>
                        <a:t>(Payment)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noProof="0" dirty="0"/>
                        <a:t>Payment guarantee of letter of credit signed by utility and project company.</a:t>
                      </a:r>
                    </a:p>
                    <a:p>
                      <a:r>
                        <a:rPr lang="en-US" sz="1600" noProof="0" dirty="0"/>
                        <a:t>The letter of credit states utility need to provide payment security equivalent to 6 months of IPP revenues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noProof="0" dirty="0"/>
                        <a:t>Scaling Solar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66371583"/>
                  </a:ext>
                </a:extLst>
              </a:tr>
            </a:tbl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6B942D72-9EA2-44AE-89A1-CF21399E844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/>
              <a:t>How: Guarantees and insurance</a:t>
            </a:r>
          </a:p>
        </p:txBody>
      </p:sp>
    </p:spTree>
    <p:extLst>
      <p:ext uri="{BB962C8B-B14F-4D97-AF65-F5344CB8AC3E}">
        <p14:creationId xmlns:p14="http://schemas.microsoft.com/office/powerpoint/2010/main" val="384550195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jN7DCZYElU3mETejgcys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EXTENDEDFILLCOLOUR" val=""/>
  <p:tag name="MMCOA_SMARTSHAPE" val="Y"/>
  <p:tag name="MMCOA_FONTSIZE_L" val="28"/>
  <p:tag name="MMCOA_FONTSIZE_M" val="21"/>
  <p:tag name="MMCOA_FONTSIZE_S" val="14"/>
  <p:tag name="MMCOA_FONTSIZE_T" val="14"/>
  <p:tag name="MMCOA_POSITION_L" val="35.875;30.125;54.375;683.875"/>
  <p:tag name="MMCOA_POSITION_M" val="35.875;30.125;54.375;683.875"/>
  <p:tag name="MMCOA_POSITION_S" val="35.875;30.125;54.375;683.875"/>
  <p:tag name="MMCOA_POSITION_T" val="35.875;30.125;54.375;683.875"/>
  <p:tag name="MMCOA_HIDEONCOLOUR" val="N"/>
  <p:tag name="MMCOA_HIDEONWHITE" val="N"/>
  <p:tag name="MMCOA_HIDEONBALLROOM" val="N"/>
  <p:tag name="MMCOA_HIDEONCLASSIC" val="N"/>
  <p:tag name="MMCOA_HIDEONTEXT" val="N"/>
  <p:tag name="MMCOA_HIDEONECO" val="N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EXTENDEDFILLCOLOUR" val=""/>
  <p:tag name="MMCOA_SMARTSHAPE" val="Y"/>
  <p:tag name="MMCOA_FONTSIZE_L" val="28"/>
  <p:tag name="MMCOA_FONTSIZE_M" val="20"/>
  <p:tag name="MMCOA_FONTSIZE_S" val="14"/>
  <p:tag name="MMCOA_FONTSIZE_T" val="14"/>
  <p:tag name="MMCOA_POSITION_L" val="35.875;100.625;392.75;684"/>
  <p:tag name="MMCOA_POSITION_M" val="35.875;100.625;392.75;684"/>
  <p:tag name="MMCOA_POSITION_S" val="35.875;100.625;392.75;684"/>
  <p:tag name="MMCOA_POSITION_T" val="35.875;100.625;392.75;684"/>
  <p:tag name="MMCOA_HIDEONCOLOUR" val="N"/>
  <p:tag name="MMCOA_HIDEONWHITE" val="N"/>
  <p:tag name="MMCOA_HIDEONBALLROOM" val="N"/>
  <p:tag name="MMCOA_HIDEONCLASSIC" val="N"/>
  <p:tag name="MMCOA_HIDEONTEXT" val="N"/>
  <p:tag name="MMCOA_HIDEONECO" val="N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EXTENDEDFILLCOLOUR" val=""/>
  <p:tag name="MMCOA_SMARTSHAPE" val="Y"/>
  <p:tag name="MMCOA_FONTSIZE_L" val="28"/>
  <p:tag name="MMCOA_FONTSIZE_M" val="21"/>
  <p:tag name="MMCOA_FONTSIZE_S" val="14"/>
  <p:tag name="MMCOA_FONTSIZE_T" val="14"/>
  <p:tag name="MMCOA_POSITION_L" val="35.875;30.125;54.375;683.875"/>
  <p:tag name="MMCOA_POSITION_M" val="35.875;30.125;54.375;683.875"/>
  <p:tag name="MMCOA_POSITION_S" val="35.875;30.125;54.375;683.875"/>
  <p:tag name="MMCOA_POSITION_T" val="35.875;30.125;54.375;683.875"/>
  <p:tag name="MMCOA_HIDEONCOLOUR" val="N"/>
  <p:tag name="MMCOA_HIDEONWHITE" val="N"/>
  <p:tag name="MMCOA_HIDEONBALLROOM" val="N"/>
  <p:tag name="MMCOA_HIDEONCLASSIC" val="N"/>
  <p:tag name="MMCOA_HIDEONTEXT" val="N"/>
  <p:tag name="MMCOA_HIDEONECO" val="N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EXTENDEDFILLCOLOUR" val=""/>
  <p:tag name="MMCOA_SMARTSHAPE" val="Y"/>
  <p:tag name="MMCOA_FONTSIZE_L" val="28"/>
  <p:tag name="MMCOA_FONTSIZE_M" val="21"/>
  <p:tag name="MMCOA_FONTSIZE_S" val="14"/>
  <p:tag name="MMCOA_FONTSIZE_T" val="14"/>
  <p:tag name="MMCOA_POSITION_L" val="35.875;30.125;54.375;683.875"/>
  <p:tag name="MMCOA_POSITION_M" val="35.875;30.125;54.375;683.875"/>
  <p:tag name="MMCOA_POSITION_S" val="35.875;30.125;54.375;683.875"/>
  <p:tag name="MMCOA_POSITION_T" val="35.875;30.125;54.375;683.875"/>
  <p:tag name="MMCOA_HIDEONCOLOUR" val="N"/>
  <p:tag name="MMCOA_HIDEONWHITE" val="N"/>
  <p:tag name="MMCOA_HIDEONBALLROOM" val="N"/>
  <p:tag name="MMCOA_HIDEONCLASSIC" val="N"/>
  <p:tag name="MMCOA_HIDEONTEXT" val="N"/>
  <p:tag name="MMCOA_HIDEONECO" val="N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EXTENDEDFILLCOLOUR" val=""/>
  <p:tag name="MMCOA_SMARTSHAPE" val="Y"/>
  <p:tag name="MMCOA_FONTSIZE_L" val="28"/>
  <p:tag name="MMCOA_FONTSIZE_M" val="21"/>
  <p:tag name="MMCOA_FONTSIZE_S" val="14"/>
  <p:tag name="MMCOA_FONTSIZE_T" val="14"/>
  <p:tag name="MMCOA_POSITION_L" val="35.875;30.125;54.375;683.875"/>
  <p:tag name="MMCOA_POSITION_M" val="35.875;30.125;54.375;683.875"/>
  <p:tag name="MMCOA_POSITION_S" val="35.875;30.125;54.375;683.875"/>
  <p:tag name="MMCOA_POSITION_T" val="35.875;30.125;54.375;683.875"/>
  <p:tag name="MMCOA_HIDEONCOLOUR" val="N"/>
  <p:tag name="MMCOA_HIDEONWHITE" val="N"/>
  <p:tag name="MMCOA_HIDEONBALLROOM" val="N"/>
  <p:tag name="MMCOA_HIDEONCLASSIC" val="N"/>
  <p:tag name="MMCOA_HIDEONTEXT" val="N"/>
  <p:tag name="MMCOA_HIDEONECO" val="N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EXTENDEDFILLCOLOUR" val=""/>
  <p:tag name="MMCOA_SMARTSHAPE" val="Y"/>
  <p:tag name="MMCOA_FONTSIZE_L" val="28"/>
  <p:tag name="MMCOA_FONTSIZE_M" val="21"/>
  <p:tag name="MMCOA_FONTSIZE_S" val="14"/>
  <p:tag name="MMCOA_FONTSIZE_T" val="14"/>
  <p:tag name="MMCOA_POSITION_L" val="35.875;30.125;54.375;683.875"/>
  <p:tag name="MMCOA_POSITION_M" val="35.875;30.125;54.375;683.875"/>
  <p:tag name="MMCOA_POSITION_S" val="35.875;30.125;54.375;683.875"/>
  <p:tag name="MMCOA_POSITION_T" val="35.875;30.125;54.375;683.875"/>
  <p:tag name="MMCOA_HIDEONCOLOUR" val="N"/>
  <p:tag name="MMCOA_HIDEONWHITE" val="N"/>
  <p:tag name="MMCOA_HIDEONBALLROOM" val="N"/>
  <p:tag name="MMCOA_HIDEONCLASSIC" val="N"/>
  <p:tag name="MMCOA_HIDEONTEXT" val="N"/>
  <p:tag name="MMCOA_HIDEONECO" val="N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EXTENDEDFILLCOLOUR" val=""/>
  <p:tag name="MMCOA_SMARTSHAPE" val="Y"/>
  <p:tag name="MMCOA_FONTSIZE_L" val="28"/>
  <p:tag name="MMCOA_FONTSIZE_M" val="21"/>
  <p:tag name="MMCOA_FONTSIZE_S" val="14"/>
  <p:tag name="MMCOA_FONTSIZE_T" val="14"/>
  <p:tag name="MMCOA_POSITION_L" val="35.875;30.125;54.375;683.875"/>
  <p:tag name="MMCOA_POSITION_M" val="35.875;30.125;54.375;683.875"/>
  <p:tag name="MMCOA_POSITION_S" val="35.875;30.125;54.375;683.875"/>
  <p:tag name="MMCOA_POSITION_T" val="35.875;30.125;54.375;683.875"/>
  <p:tag name="MMCOA_HIDEONCOLOUR" val="N"/>
  <p:tag name="MMCOA_HIDEONWHITE" val="N"/>
  <p:tag name="MMCOA_HIDEONBALLROOM" val="N"/>
  <p:tag name="MMCOA_HIDEONCLASSIC" val="N"/>
  <p:tag name="MMCOA_HIDEONTEXT" val="N"/>
  <p:tag name="MMCOA_HIDEONECO" val="N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EXTENDEDFILLCOLOUR" val=""/>
  <p:tag name="MMCOA_SMARTSHAPE" val="Y"/>
  <p:tag name="MMCOA_FONTSIZE_L" val="28"/>
  <p:tag name="MMCOA_FONTSIZE_M" val="21"/>
  <p:tag name="MMCOA_FONTSIZE_S" val="14"/>
  <p:tag name="MMCOA_FONTSIZE_T" val="14"/>
  <p:tag name="MMCOA_POSITION_L" val="35.875;30.125;54.375;683.875"/>
  <p:tag name="MMCOA_POSITION_M" val="35.875;30.125;54.375;683.875"/>
  <p:tag name="MMCOA_POSITION_S" val="35.875;30.125;54.375;683.875"/>
  <p:tag name="MMCOA_POSITION_T" val="35.875;30.125;54.375;683.875"/>
  <p:tag name="MMCOA_HIDEONCOLOUR" val="N"/>
  <p:tag name="MMCOA_HIDEONWHITE" val="N"/>
  <p:tag name="MMCOA_HIDEONBALLROOM" val="N"/>
  <p:tag name="MMCOA_HIDEONCLASSIC" val="N"/>
  <p:tag name="MMCOA_HIDEONTEXT" val="N"/>
  <p:tag name="MMCOA_HIDEONECO" val="N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EXTENDEDFILLCOLOUR" val=""/>
  <p:tag name="MMCOA_SMARTSHAPE" val="Y"/>
  <p:tag name="MMCOA_FONTSIZE_L" val="28"/>
  <p:tag name="MMCOA_FONTSIZE_M" val="21"/>
  <p:tag name="MMCOA_FONTSIZE_S" val="14"/>
  <p:tag name="MMCOA_FONTSIZE_T" val="14"/>
  <p:tag name="MMCOA_POSITION_L" val="35.875;30.125;54.375;683.875"/>
  <p:tag name="MMCOA_POSITION_M" val="35.875;30.125;54.375;683.875"/>
  <p:tag name="MMCOA_POSITION_S" val="35.875;30.125;54.375;683.875"/>
  <p:tag name="MMCOA_POSITION_T" val="35.875;30.125;54.375;683.875"/>
  <p:tag name="MMCOA_HIDEONCOLOUR" val="N"/>
  <p:tag name="MMCOA_HIDEONWHITE" val="N"/>
  <p:tag name="MMCOA_HIDEONBALLROOM" val="N"/>
  <p:tag name="MMCOA_HIDEONCLASSIC" val="N"/>
  <p:tag name="MMCOA_HIDEONTEXT" val="N"/>
  <p:tag name="MMCOA_HIDEONECO" val="N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EXTENDEDFILLCOLOUR" val=""/>
  <p:tag name="MMCOA_SMARTSHAPE" val="Y"/>
  <p:tag name="MMCOA_FONTSIZE_L" val="28"/>
  <p:tag name="MMCOA_FONTSIZE_M" val="21"/>
  <p:tag name="MMCOA_FONTSIZE_S" val="14"/>
  <p:tag name="MMCOA_FONTSIZE_T" val="14"/>
  <p:tag name="MMCOA_POSITION_L" val="35.875;30.125;54.375;683.875"/>
  <p:tag name="MMCOA_POSITION_M" val="35.875;30.125;54.375;683.875"/>
  <p:tag name="MMCOA_POSITION_S" val="35.875;30.125;54.375;683.875"/>
  <p:tag name="MMCOA_POSITION_T" val="35.875;30.125;54.375;683.875"/>
  <p:tag name="MMCOA_HIDEONCOLOUR" val="N"/>
  <p:tag name="MMCOA_HIDEONWHITE" val="N"/>
  <p:tag name="MMCOA_HIDEONBALLROOM" val="N"/>
  <p:tag name="MMCOA_HIDEONCLASSIC" val="N"/>
  <p:tag name="MMCOA_HIDEONTEXT" val="N"/>
  <p:tag name="MMCOA_HIDEONECO" val="N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EXTENDEDFILLCOLOUR" val=""/>
  <p:tag name="MMCOA_SMARTSHAPE" val="Y"/>
  <p:tag name="MMCOA_FONTSIZE_L" val="28"/>
  <p:tag name="MMCOA_FONTSIZE_M" val="21"/>
  <p:tag name="MMCOA_FONTSIZE_S" val="14"/>
  <p:tag name="MMCOA_FONTSIZE_T" val="14"/>
  <p:tag name="MMCOA_POSITION_L" val="35.875;30.125;54.375;683.875"/>
  <p:tag name="MMCOA_POSITION_M" val="35.875;30.125;54.375;683.875"/>
  <p:tag name="MMCOA_POSITION_S" val="35.875;30.125;54.375;683.875"/>
  <p:tag name="MMCOA_POSITION_T" val="35.875;30.125;54.375;683.875"/>
  <p:tag name="MMCOA_HIDEONCOLOUR" val="N"/>
  <p:tag name="MMCOA_HIDEONWHITE" val="N"/>
  <p:tag name="MMCOA_HIDEONBALLROOM" val="N"/>
  <p:tag name="MMCOA_HIDEONCLASSIC" val="N"/>
  <p:tag name="MMCOA_HIDEONTEXT" val="N"/>
  <p:tag name="MMCOA_HIDEONECO" val="N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DQOl7boTETACUj1aVdGa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EXTENDEDFILLCOLOUR" val=""/>
  <p:tag name="MMCOA_SMARTSHAPE" val="Y"/>
  <p:tag name="MMCOA_FONTSIZE_L" val="28"/>
  <p:tag name="MMCOA_FONTSIZE_M" val="21"/>
  <p:tag name="MMCOA_FONTSIZE_S" val="14"/>
  <p:tag name="MMCOA_FONTSIZE_T" val="14"/>
  <p:tag name="MMCOA_POSITION_L" val="35.875;30.125;54.375;683.875"/>
  <p:tag name="MMCOA_POSITION_M" val="35.875;30.125;54.375;683.875"/>
  <p:tag name="MMCOA_POSITION_S" val="35.875;30.125;54.375;683.875"/>
  <p:tag name="MMCOA_POSITION_T" val="35.875;30.125;54.375;683.875"/>
  <p:tag name="MMCOA_HIDEONCOLOUR" val="N"/>
  <p:tag name="MMCOA_HIDEONWHITE" val="N"/>
  <p:tag name="MMCOA_HIDEONBALLROOM" val="N"/>
  <p:tag name="MMCOA_HIDEONCLASSIC" val="N"/>
  <p:tag name="MMCOA_HIDEONTEXT" val="N"/>
  <p:tag name="MMCOA_HIDEONECO" val="N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EXTENDEDFILLCOLOUR" val=""/>
  <p:tag name="MMCOA_SMARTSHAPE" val="Y"/>
  <p:tag name="MMCOA_FONTSIZE_L" val="28"/>
  <p:tag name="MMCOA_FONTSIZE_M" val="20"/>
  <p:tag name="MMCOA_FONTSIZE_S" val="14"/>
  <p:tag name="MMCOA_FONTSIZE_T" val="14"/>
  <p:tag name="MMCOA_POSITION_L" val="35.875;100.625;392.75;684"/>
  <p:tag name="MMCOA_POSITION_M" val="35.875;100.625;392.75;684"/>
  <p:tag name="MMCOA_POSITION_S" val="35.875;100.625;392.75;684"/>
  <p:tag name="MMCOA_POSITION_T" val="35.875;100.625;392.75;684"/>
  <p:tag name="MMCOA_HIDEONCOLOUR" val="N"/>
  <p:tag name="MMCOA_HIDEONWHITE" val="N"/>
  <p:tag name="MMCOA_HIDEONBALLROOM" val="N"/>
  <p:tag name="MMCOA_HIDEONCLASSIC" val="N"/>
  <p:tag name="MMCOA_HIDEONTEXT" val="N"/>
  <p:tag name="MMCOA_HIDEONECO" val="N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fjte8pOuxLtiCtN0t2Bt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EXTENDEDFILLCOLOUR" val=""/>
  <p:tag name="MMCOA_SMARTSHAPE" val="Y"/>
  <p:tag name="MMCOA_FONTSIZE_L" val="28"/>
  <p:tag name="MMCOA_FONTSIZE_M" val="21"/>
  <p:tag name="MMCOA_FONTSIZE_S" val="14"/>
  <p:tag name="MMCOA_FONTSIZE_T" val="14"/>
  <p:tag name="MMCOA_POSITION_L" val="35.875;30.125;54.375;683.875"/>
  <p:tag name="MMCOA_POSITION_M" val="35.875;30.125;54.375;683.875"/>
  <p:tag name="MMCOA_POSITION_S" val="35.875;30.125;54.375;683.875"/>
  <p:tag name="MMCOA_POSITION_T" val="35.875;30.125;54.375;683.875"/>
  <p:tag name="MMCOA_HIDEONCOLOUR" val="N"/>
  <p:tag name="MMCOA_HIDEONWHITE" val="N"/>
  <p:tag name="MMCOA_HIDEONBALLROOM" val="N"/>
  <p:tag name="MMCOA_HIDEONCLASSIC" val="N"/>
  <p:tag name="MMCOA_HIDEONTEXT" val="N"/>
  <p:tag name="MMCOA_HIDEONECO" val="N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EXTENDEDFILLCOLOUR" val=""/>
  <p:tag name="MMCOA_SMARTSHAPE" val="Y"/>
  <p:tag name="MMCOA_FONTSIZE_L" val="28"/>
  <p:tag name="MMCOA_FONTSIZE_M" val="21"/>
  <p:tag name="MMCOA_FONTSIZE_S" val="14"/>
  <p:tag name="MMCOA_FONTSIZE_T" val="14"/>
  <p:tag name="MMCOA_POSITION_L" val="35.875;30.125;54.375;683.875"/>
  <p:tag name="MMCOA_POSITION_M" val="35.875;30.125;54.375;683.875"/>
  <p:tag name="MMCOA_POSITION_S" val="35.875;30.125;54.375;683.875"/>
  <p:tag name="MMCOA_POSITION_T" val="35.875;30.125;54.375;683.875"/>
  <p:tag name="MMCOA_HIDEONCOLOUR" val="N"/>
  <p:tag name="MMCOA_HIDEONWHITE" val="N"/>
  <p:tag name="MMCOA_HIDEONBALLROOM" val="N"/>
  <p:tag name="MMCOA_HIDEONCLASSIC" val="N"/>
  <p:tag name="MMCOA_HIDEONTEXT" val="N"/>
  <p:tag name="MMCOA_HIDEONECO" val="N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EXTENDEDFILLCOLOUR" val=""/>
  <p:tag name="MMCOA_SMARTSHAPE" val="Y"/>
  <p:tag name="MMCOA_FONTSIZE_L" val="28"/>
  <p:tag name="MMCOA_FONTSIZE_M" val="21"/>
  <p:tag name="MMCOA_FONTSIZE_S" val="14"/>
  <p:tag name="MMCOA_FONTSIZE_T" val="14"/>
  <p:tag name="MMCOA_POSITION_L" val="35.875;30.125;54.375;683.875"/>
  <p:tag name="MMCOA_POSITION_M" val="35.875;30.125;54.375;683.875"/>
  <p:tag name="MMCOA_POSITION_S" val="35.875;30.125;54.375;683.875"/>
  <p:tag name="MMCOA_POSITION_T" val="35.875;30.125;54.375;683.875"/>
  <p:tag name="MMCOA_HIDEONCOLOUR" val="N"/>
  <p:tag name="MMCOA_HIDEONWHITE" val="N"/>
  <p:tag name="MMCOA_HIDEONBALLROOM" val="N"/>
  <p:tag name="MMCOA_HIDEONCLASSIC" val="N"/>
  <p:tag name="MMCOA_HIDEONTEXT" val="N"/>
  <p:tag name="MMCOA_HIDEONECO" val="N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EXTENDEDFILLCOLOUR" val=""/>
  <p:tag name="MMCOA_SMARTSHAPE" val="Y"/>
  <p:tag name="MMCOA_FONTSIZE_L" val="28"/>
  <p:tag name="MMCOA_FONTSIZE_M" val="21"/>
  <p:tag name="MMCOA_FONTSIZE_S" val="14"/>
  <p:tag name="MMCOA_FONTSIZE_T" val="14"/>
  <p:tag name="MMCOA_POSITION_L" val="35.875;30.125;54.375;683.875"/>
  <p:tag name="MMCOA_POSITION_M" val="35.875;30.125;54.375;683.875"/>
  <p:tag name="MMCOA_POSITION_S" val="35.875;30.125;54.375;683.875"/>
  <p:tag name="MMCOA_POSITION_T" val="35.875;30.125;54.375;683.875"/>
  <p:tag name="MMCOA_HIDEONCOLOUR" val="N"/>
  <p:tag name="MMCOA_HIDEONWHITE" val="N"/>
  <p:tag name="MMCOA_HIDEONBALLROOM" val="N"/>
  <p:tag name="MMCOA_HIDEONCLASSIC" val="N"/>
  <p:tag name="MMCOA_HIDEONTEXT" val="N"/>
  <p:tag name="MMCOA_HIDEONECO" val="N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EXTENDEDFILLCOLOUR" val=""/>
  <p:tag name="MMCOA_SMARTSHAPE" val="Y"/>
  <p:tag name="MMCOA_FONTSIZE_L" val="28"/>
  <p:tag name="MMCOA_FONTSIZE_M" val="21"/>
  <p:tag name="MMCOA_FONTSIZE_S" val="14"/>
  <p:tag name="MMCOA_FONTSIZE_T" val="14"/>
  <p:tag name="MMCOA_POSITION_L" val="35.875;30.125;54.375;683.875"/>
  <p:tag name="MMCOA_POSITION_M" val="35.875;30.125;54.375;683.875"/>
  <p:tag name="MMCOA_POSITION_S" val="35.875;30.125;54.375;683.875"/>
  <p:tag name="MMCOA_POSITION_T" val="35.875;30.125;54.375;683.875"/>
  <p:tag name="MMCOA_HIDEONCOLOUR" val="N"/>
  <p:tag name="MMCOA_HIDEONWHITE" val="N"/>
  <p:tag name="MMCOA_HIDEONBALLROOM" val="N"/>
  <p:tag name="MMCOA_HIDEONCLASSIC" val="N"/>
  <p:tag name="MMCOA_HIDEONTEXT" val="N"/>
  <p:tag name="MMCOA_HIDEONECO" val="N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EXTENDEDFILLCOLOUR" val=""/>
  <p:tag name="MMCOA_SMARTSHAPE" val="Y"/>
  <p:tag name="MMCOA_FONTSIZE_L" val="28"/>
  <p:tag name="MMCOA_FONTSIZE_M" val="21"/>
  <p:tag name="MMCOA_FONTSIZE_S" val="14"/>
  <p:tag name="MMCOA_FONTSIZE_T" val="14"/>
  <p:tag name="MMCOA_POSITION_L" val="35.875;30.125;54.375;683.875"/>
  <p:tag name="MMCOA_POSITION_M" val="35.875;30.125;54.375;683.875"/>
  <p:tag name="MMCOA_POSITION_S" val="35.875;30.125;54.375;683.875"/>
  <p:tag name="MMCOA_POSITION_T" val="35.875;30.125;54.375;683.875"/>
  <p:tag name="MMCOA_HIDEONCOLOUR" val="N"/>
  <p:tag name="MMCOA_HIDEONWHITE" val="N"/>
  <p:tag name="MMCOA_HIDEONBALLROOM" val="N"/>
  <p:tag name="MMCOA_HIDEONCLASSIC" val="N"/>
  <p:tag name="MMCOA_HIDEONTEXT" val="N"/>
  <p:tag name="MMCOA_HIDEONECO" val="N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EXTENDEDFILLCOLOUR" val=""/>
  <p:tag name="MMCOA_SMARTSHAPE" val="Y"/>
  <p:tag name="MMCOA_FONTSIZE_L" val="28"/>
  <p:tag name="MMCOA_FONTSIZE_M" val="21"/>
  <p:tag name="MMCOA_FONTSIZE_S" val="14"/>
  <p:tag name="MMCOA_FONTSIZE_T" val="14"/>
  <p:tag name="MMCOA_POSITION_L" val="35.875;30.125;54.375;683.875"/>
  <p:tag name="MMCOA_POSITION_M" val="35.875;30.125;54.375;683.875"/>
  <p:tag name="MMCOA_POSITION_S" val="35.875;30.125;54.375;683.875"/>
  <p:tag name="MMCOA_POSITION_T" val="35.875;30.125;54.375;683.875"/>
  <p:tag name="MMCOA_HIDEONCOLOUR" val="N"/>
  <p:tag name="MMCOA_HIDEONWHITE" val="N"/>
  <p:tag name="MMCOA_HIDEONBALLROOM" val="N"/>
  <p:tag name="MMCOA_HIDEONCLASSIC" val="N"/>
  <p:tag name="MMCOA_HIDEONTEXT" val="N"/>
  <p:tag name="MMCOA_HIDEONECO" val="N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EXTENDEDFILLCOLOUR" val=""/>
  <p:tag name="MMCOA_SMARTSHAPE" val="Y"/>
  <p:tag name="MMCOA_FONTSIZE_L" val="28"/>
  <p:tag name="MMCOA_FONTSIZE_M" val="21"/>
  <p:tag name="MMCOA_FONTSIZE_S" val="14"/>
  <p:tag name="MMCOA_FONTSIZE_T" val="14"/>
  <p:tag name="MMCOA_POSITION_L" val="35.875;30.125;54.375;683.875"/>
  <p:tag name="MMCOA_POSITION_M" val="35.875;30.125;54.375;683.875"/>
  <p:tag name="MMCOA_POSITION_S" val="35.875;30.125;54.375;683.875"/>
  <p:tag name="MMCOA_POSITION_T" val="35.875;30.125;54.375;683.875"/>
  <p:tag name="MMCOA_HIDEONCOLOUR" val="N"/>
  <p:tag name="MMCOA_HIDEONWHITE" val="N"/>
  <p:tag name="MMCOA_HIDEONBALLROOM" val="N"/>
  <p:tag name="MMCOA_HIDEONCLASSIC" val="N"/>
  <p:tag name="MMCOA_HIDEONTEXT" val="N"/>
  <p:tag name="MMCOA_HIDEONECO" val="N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EXTENDEDFILLCOLOUR" val=""/>
  <p:tag name="MMCOA_SMARTSHAPE" val="Y"/>
  <p:tag name="MMCOA_FONTSIZE_L" val="28"/>
  <p:tag name="MMCOA_FONTSIZE_M" val="21"/>
  <p:tag name="MMCOA_FONTSIZE_S" val="14"/>
  <p:tag name="MMCOA_FONTSIZE_T" val="14"/>
  <p:tag name="MMCOA_POSITION_L" val="35.875;30.125;54.375;683.875"/>
  <p:tag name="MMCOA_POSITION_M" val="35.875;30.125;54.375;683.875"/>
  <p:tag name="MMCOA_POSITION_S" val="35.875;30.125;54.375;683.875"/>
  <p:tag name="MMCOA_POSITION_T" val="35.875;30.125;54.375;683.875"/>
  <p:tag name="MMCOA_HIDEONCOLOUR" val="N"/>
  <p:tag name="MMCOA_HIDEONWHITE" val="N"/>
  <p:tag name="MMCOA_HIDEONBALLROOM" val="N"/>
  <p:tag name="MMCOA_HIDEONCLASSIC" val="N"/>
  <p:tag name="MMCOA_HIDEONTEXT" val="N"/>
  <p:tag name="MMCOA_HIDEONECO" val="N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tzipa3FC2z0Ka1nM5tOrA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EXTENDEDFILLCOLOUR" val=""/>
  <p:tag name="MMCOA_SMARTSHAPE" val="Y"/>
  <p:tag name="MMCOA_FONTSIZE_L" val="28"/>
  <p:tag name="MMCOA_FONTSIZE_M" val="21"/>
  <p:tag name="MMCOA_FONTSIZE_S" val="14"/>
  <p:tag name="MMCOA_FONTSIZE_T" val="14"/>
  <p:tag name="MMCOA_POSITION_L" val="35.875;30.125;54.375;683.875"/>
  <p:tag name="MMCOA_POSITION_M" val="35.875;30.125;54.375;683.875"/>
  <p:tag name="MMCOA_POSITION_S" val="35.875;30.125;54.375;683.875"/>
  <p:tag name="MMCOA_POSITION_T" val="35.875;30.125;54.375;683.875"/>
  <p:tag name="MMCOA_HIDEONCOLOUR" val="N"/>
  <p:tag name="MMCOA_HIDEONWHITE" val="N"/>
  <p:tag name="MMCOA_HIDEONBALLROOM" val="N"/>
  <p:tag name="MMCOA_HIDEONCLASSIC" val="N"/>
  <p:tag name="MMCOA_HIDEONTEXT" val="N"/>
  <p:tag name="MMCOA_HIDEONECO" val="N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EXTENDEDFILLCOLOUR" val=""/>
  <p:tag name="MMCOA_SMARTSHAPE" val="Y"/>
  <p:tag name="MMCOA_FONTSIZE_L" val="28"/>
  <p:tag name="MMCOA_FONTSIZE_M" val="20"/>
  <p:tag name="MMCOA_FONTSIZE_S" val="14"/>
  <p:tag name="MMCOA_FONTSIZE_T" val="14"/>
  <p:tag name="MMCOA_POSITION_L" val="35.875;100.625;392.75;684"/>
  <p:tag name="MMCOA_POSITION_M" val="35.875;100.625;392.75;684"/>
  <p:tag name="MMCOA_POSITION_S" val="35.875;100.625;392.75;684"/>
  <p:tag name="MMCOA_POSITION_T" val="35.875;100.625;392.75;684"/>
  <p:tag name="MMCOA_HIDEONCOLOUR" val="N"/>
  <p:tag name="MMCOA_HIDEONWHITE" val="N"/>
  <p:tag name="MMCOA_HIDEONBALLROOM" val="N"/>
  <p:tag name="MMCOA_HIDEONCLASSIC" val="N"/>
  <p:tag name="MMCOA_HIDEONTEXT" val="N"/>
  <p:tag name="MMCOA_HIDEONECO" val="N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EXTENDEDFILLCOLOUR" val=""/>
  <p:tag name="MMCOA_SMARTSHAPE" val="Y"/>
  <p:tag name="MMCOA_FONTSIZE_L" val="28"/>
  <p:tag name="MMCOA_FONTSIZE_M" val="21"/>
  <p:tag name="MMCOA_FONTSIZE_S" val="14"/>
  <p:tag name="MMCOA_FONTSIZE_T" val="14"/>
  <p:tag name="MMCOA_POSITION_L" val="35.875;30.125;54.375;683.875"/>
  <p:tag name="MMCOA_POSITION_M" val="35.875;30.125;54.375;683.875"/>
  <p:tag name="MMCOA_POSITION_S" val="35.875;30.125;54.375;683.875"/>
  <p:tag name="MMCOA_POSITION_T" val="35.875;30.125;54.375;683.875"/>
  <p:tag name="MMCOA_HIDEONCOLOUR" val="N"/>
  <p:tag name="MMCOA_HIDEONWHITE" val="N"/>
  <p:tag name="MMCOA_HIDEONBALLROOM" val="N"/>
  <p:tag name="MMCOA_HIDEONCLASSIC" val="N"/>
  <p:tag name="MMCOA_HIDEONTEXT" val="N"/>
  <p:tag name="MMCOA_HIDEONECO" val="N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EXTENDEDFILLCOLOUR" val=""/>
  <p:tag name="MMCOA_SMARTSHAPE" val="Y"/>
  <p:tag name="MMCOA_FONTSIZE_L" val="28"/>
  <p:tag name="MMCOA_FONTSIZE_M" val="21"/>
  <p:tag name="MMCOA_FONTSIZE_S" val="14"/>
  <p:tag name="MMCOA_FONTSIZE_T" val="14"/>
  <p:tag name="MMCOA_POSITION_L" val="35.875;30.125;54.375;683.875"/>
  <p:tag name="MMCOA_POSITION_M" val="35.875;30.125;54.375;683.875"/>
  <p:tag name="MMCOA_POSITION_S" val="35.875;30.125;54.375;683.875"/>
  <p:tag name="MMCOA_POSITION_T" val="35.875;30.125;54.375;683.875"/>
  <p:tag name="MMCOA_HIDEONCOLOUR" val="N"/>
  <p:tag name="MMCOA_HIDEONWHITE" val="N"/>
  <p:tag name="MMCOA_HIDEONBALLROOM" val="N"/>
  <p:tag name="MMCOA_HIDEONCLASSIC" val="N"/>
  <p:tag name="MMCOA_HIDEONTEXT" val="N"/>
  <p:tag name="MMCOA_HIDEONECO" val="N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EXTENDEDFILLCOLOUR" val=""/>
  <p:tag name="MMCOA_SMARTSHAPE" val="Y"/>
  <p:tag name="MMCOA_FONTSIZE_L" val="28"/>
  <p:tag name="MMCOA_FONTSIZE_M" val="21"/>
  <p:tag name="MMCOA_FONTSIZE_S" val="14"/>
  <p:tag name="MMCOA_FONTSIZE_T" val="14"/>
  <p:tag name="MMCOA_POSITION_L" val="35.875;30.125;54.375;683.875"/>
  <p:tag name="MMCOA_POSITION_M" val="35.875;30.125;54.375;683.875"/>
  <p:tag name="MMCOA_POSITION_S" val="35.875;30.125;54.375;683.875"/>
  <p:tag name="MMCOA_POSITION_T" val="35.875;30.125;54.375;683.875"/>
  <p:tag name="MMCOA_HIDEONCOLOUR" val="N"/>
  <p:tag name="MMCOA_HIDEONWHITE" val="N"/>
  <p:tag name="MMCOA_HIDEONBALLROOM" val="N"/>
  <p:tag name="MMCOA_HIDEONCLASSIC" val="N"/>
  <p:tag name="MMCOA_HIDEONTEXT" val="N"/>
  <p:tag name="MMCOA_HIDEONECO" val="N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EXTENDEDFILLCOLOUR" val=""/>
  <p:tag name="MMCOA_SMARTSHAPE" val="Y"/>
  <p:tag name="MMCOA_FONTSIZE_L" val="28"/>
  <p:tag name="MMCOA_FONTSIZE_M" val="21"/>
  <p:tag name="MMCOA_FONTSIZE_S" val="14"/>
  <p:tag name="MMCOA_FONTSIZE_T" val="14"/>
  <p:tag name="MMCOA_POSITION_L" val="35.875;30.125;54.375;683.875"/>
  <p:tag name="MMCOA_POSITION_M" val="35.875;30.125;54.375;683.875"/>
  <p:tag name="MMCOA_POSITION_S" val="35.875;30.125;54.375;683.875"/>
  <p:tag name="MMCOA_POSITION_T" val="35.875;30.125;54.375;683.875"/>
  <p:tag name="MMCOA_HIDEONCOLOUR" val="N"/>
  <p:tag name="MMCOA_HIDEONWHITE" val="N"/>
  <p:tag name="MMCOA_HIDEONBALLROOM" val="N"/>
  <p:tag name="MMCOA_HIDEONCLASSIC" val="N"/>
  <p:tag name="MMCOA_HIDEONTEXT" val="N"/>
  <p:tag name="MMCOA_HIDEONECO" val="N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EXTENDEDFILLCOLOUR" val=""/>
  <p:tag name="MMCOA_SMARTSHAPE" val="Y"/>
  <p:tag name="MMCOA_FONTSIZE_L" val="28"/>
  <p:tag name="MMCOA_FONTSIZE_M" val="21"/>
  <p:tag name="MMCOA_FONTSIZE_S" val="14"/>
  <p:tag name="MMCOA_FONTSIZE_T" val="14"/>
  <p:tag name="MMCOA_POSITION_L" val="35.875;30.125;54.375;683.875"/>
  <p:tag name="MMCOA_POSITION_M" val="35.875;30.125;54.375;683.875"/>
  <p:tag name="MMCOA_POSITION_S" val="35.875;30.125;54.375;683.875"/>
  <p:tag name="MMCOA_POSITION_T" val="35.875;30.125;54.375;683.875"/>
  <p:tag name="MMCOA_HIDEONCOLOUR" val="N"/>
  <p:tag name="MMCOA_HIDEONWHITE" val="N"/>
  <p:tag name="MMCOA_HIDEONBALLROOM" val="N"/>
  <p:tag name="MMCOA_HIDEONCLASSIC" val="N"/>
  <p:tag name="MMCOA_HIDEONTEXT" val="N"/>
  <p:tag name="MMCOA_HIDEONECO" val="N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EXTENDEDFILLCOLOUR" val=""/>
  <p:tag name="MMCOA_SMARTSHAPE" val="Y"/>
  <p:tag name="MMCOA_FONTSIZE_L" val="28"/>
  <p:tag name="MMCOA_FONTSIZE_M" val="21"/>
  <p:tag name="MMCOA_FONTSIZE_S" val="14"/>
  <p:tag name="MMCOA_FONTSIZE_T" val="14"/>
  <p:tag name="MMCOA_POSITION_L" val="35.875;30.125;54.375;683.875"/>
  <p:tag name="MMCOA_POSITION_M" val="35.875;30.125;54.375;683.875"/>
  <p:tag name="MMCOA_POSITION_S" val="35.875;30.125;54.375;683.875"/>
  <p:tag name="MMCOA_POSITION_T" val="35.875;30.125;54.375;683.875"/>
  <p:tag name="MMCOA_HIDEONCOLOUR" val="N"/>
  <p:tag name="MMCOA_HIDEONWHITE" val="N"/>
  <p:tag name="MMCOA_HIDEONBALLROOM" val="N"/>
  <p:tag name="MMCOA_HIDEONCLASSIC" val="N"/>
  <p:tag name="MMCOA_HIDEONTEXT" val="N"/>
  <p:tag name="MMCOA_HIDEONECO" val="N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EXTENDEDFILLCOLOUR" val=""/>
  <p:tag name="MMCOA_SMARTSHAPE" val="Y"/>
  <p:tag name="MMCOA_FONTSIZE_L" val="28"/>
  <p:tag name="MMCOA_FONTSIZE_M" val="21"/>
  <p:tag name="MMCOA_FONTSIZE_S" val="14"/>
  <p:tag name="MMCOA_FONTSIZE_T" val="14"/>
  <p:tag name="MMCOA_POSITION_L" val="35.875;30.125;54.375;683.875"/>
  <p:tag name="MMCOA_POSITION_M" val="35.875;30.125;54.375;683.875"/>
  <p:tag name="MMCOA_POSITION_S" val="35.875;30.125;54.375;683.875"/>
  <p:tag name="MMCOA_POSITION_T" val="35.875;30.125;54.375;683.875"/>
  <p:tag name="MMCOA_HIDEONCOLOUR" val="N"/>
  <p:tag name="MMCOA_HIDEONWHITE" val="N"/>
  <p:tag name="MMCOA_HIDEONBALLROOM" val="N"/>
  <p:tag name="MMCOA_HIDEONCLASSIC" val="N"/>
  <p:tag name="MMCOA_HIDEONTEXT" val="N"/>
  <p:tag name="MMCOA_HIDEONECO" val="N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EXTENDEDFILLCOLOUR" val=""/>
  <p:tag name="MMCOA_SMARTSHAPE" val="Y"/>
  <p:tag name="MMCOA_FONTSIZE_L" val="28"/>
  <p:tag name="MMCOA_FONTSIZE_M" val="21"/>
  <p:tag name="MMCOA_FONTSIZE_S" val="14"/>
  <p:tag name="MMCOA_FONTSIZE_T" val="14"/>
  <p:tag name="MMCOA_POSITION_L" val="35.875;30.125;54.375;683.875"/>
  <p:tag name="MMCOA_POSITION_M" val="35.875;30.125;54.375;683.875"/>
  <p:tag name="MMCOA_POSITION_S" val="35.875;30.125;54.375;683.875"/>
  <p:tag name="MMCOA_POSITION_T" val="35.875;30.125;54.375;683.875"/>
  <p:tag name="MMCOA_HIDEONCOLOUR" val="N"/>
  <p:tag name="MMCOA_HIDEONWHITE" val="N"/>
  <p:tag name="MMCOA_HIDEONBALLROOM" val="N"/>
  <p:tag name="MMCOA_HIDEONCLASSIC" val="N"/>
  <p:tag name="MMCOA_HIDEONTEXT" val="N"/>
  <p:tag name="MMCOA_HIDEONECO" val="N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EXTENDEDFILLCOLOUR" val=""/>
  <p:tag name="MMCOA_SMARTSHAPE" val="Y"/>
  <p:tag name="MMCOA_FONTSIZE_L" val="28"/>
  <p:tag name="MMCOA_FONTSIZE_M" val="21"/>
  <p:tag name="MMCOA_FONTSIZE_S" val="14"/>
  <p:tag name="MMCOA_FONTSIZE_T" val="14"/>
  <p:tag name="MMCOA_POSITION_L" val="35.875;30.125;54.375;683.875"/>
  <p:tag name="MMCOA_POSITION_M" val="35.875;30.125;54.375;683.875"/>
  <p:tag name="MMCOA_POSITION_S" val="35.875;30.125;54.375;683.875"/>
  <p:tag name="MMCOA_POSITION_T" val="35.875;30.125;54.375;683.875"/>
  <p:tag name="MMCOA_HIDEONCOLOUR" val="N"/>
  <p:tag name="MMCOA_HIDEONWHITE" val="N"/>
  <p:tag name="MMCOA_HIDEONBALLROOM" val="N"/>
  <p:tag name="MMCOA_HIDEONCLASSIC" val="N"/>
  <p:tag name="MMCOA_HIDEONTEXT" val="N"/>
  <p:tag name="MMCOA_HIDEONECO" val="N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nXf5cErywzT2BIlVyVMqA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EXTENDEDFILLCOLOUR" val=""/>
  <p:tag name="MMCOA_SMARTSHAPE" val="Y"/>
  <p:tag name="MMCOA_FONTSIZE_L" val="28"/>
  <p:tag name="MMCOA_FONTSIZE_M" val="21"/>
  <p:tag name="MMCOA_FONTSIZE_S" val="14"/>
  <p:tag name="MMCOA_FONTSIZE_T" val="14"/>
  <p:tag name="MMCOA_POSITION_L" val="35.875;30.125;54.375;683.875"/>
  <p:tag name="MMCOA_POSITION_M" val="35.875;30.125;54.375;683.875"/>
  <p:tag name="MMCOA_POSITION_S" val="35.875;30.125;54.375;683.875"/>
  <p:tag name="MMCOA_POSITION_T" val="35.875;30.125;54.375;683.875"/>
  <p:tag name="MMCOA_HIDEONCOLOUR" val="N"/>
  <p:tag name="MMCOA_HIDEONWHITE" val="N"/>
  <p:tag name="MMCOA_HIDEONBALLROOM" val="N"/>
  <p:tag name="MMCOA_HIDEONCLASSIC" val="N"/>
  <p:tag name="MMCOA_HIDEONTEXT" val="N"/>
  <p:tag name="MMCOA_HIDEONECO" val="N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EXTENDEDFILLCOLOUR" val=""/>
  <p:tag name="MMCOA_SMARTSHAPE" val="Y"/>
  <p:tag name="MMCOA_FONTSIZE_L" val="28"/>
  <p:tag name="MMCOA_FONTSIZE_M" val="20"/>
  <p:tag name="MMCOA_FONTSIZE_S" val="14"/>
  <p:tag name="MMCOA_FONTSIZE_T" val="14"/>
  <p:tag name="MMCOA_POSITION_L" val="35.875;100.625;392.75;684"/>
  <p:tag name="MMCOA_POSITION_M" val="35.875;100.625;392.75;684"/>
  <p:tag name="MMCOA_POSITION_S" val="35.875;100.625;392.75;684"/>
  <p:tag name="MMCOA_POSITION_T" val="35.875;100.625;392.75;684"/>
  <p:tag name="MMCOA_HIDEONCOLOUR" val="N"/>
  <p:tag name="MMCOA_HIDEONWHITE" val="N"/>
  <p:tag name="MMCOA_HIDEONBALLROOM" val="N"/>
  <p:tag name="MMCOA_HIDEONCLASSIC" val="N"/>
  <p:tag name="MMCOA_HIDEONTEXT" val="N"/>
  <p:tag name="MMCOA_HIDEONECO" val="N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EXTENDEDFILLCOLOUR" val=""/>
  <p:tag name="MMCOA_SMARTSHAPE" val="Y"/>
  <p:tag name="MMCOA_FONTSIZE_L" val="28"/>
  <p:tag name="MMCOA_FONTSIZE_M" val="21"/>
  <p:tag name="MMCOA_FONTSIZE_S" val="14"/>
  <p:tag name="MMCOA_FONTSIZE_T" val="14"/>
  <p:tag name="MMCOA_POSITION_L" val="35.875;30.125;54.375;683.875"/>
  <p:tag name="MMCOA_POSITION_M" val="35.875;30.125;54.375;683.875"/>
  <p:tag name="MMCOA_POSITION_S" val="35.875;30.125;54.375;683.875"/>
  <p:tag name="MMCOA_POSITION_T" val="35.875;30.125;54.375;683.875"/>
  <p:tag name="MMCOA_HIDEONCOLOUR" val="N"/>
  <p:tag name="MMCOA_HIDEONWHITE" val="N"/>
  <p:tag name="MMCOA_HIDEONBALLROOM" val="N"/>
  <p:tag name="MMCOA_HIDEONCLASSIC" val="N"/>
  <p:tag name="MMCOA_HIDEONTEXT" val="N"/>
  <p:tag name="MMCOA_HIDEONECO" val="N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EXTENDEDFILLCOLOUR" val=""/>
  <p:tag name="MMCOA_SMARTSHAPE" val="Y"/>
  <p:tag name="MMCOA_FONTSIZE_L" val="28"/>
  <p:tag name="MMCOA_FONTSIZE_M" val="21"/>
  <p:tag name="MMCOA_FONTSIZE_S" val="14"/>
  <p:tag name="MMCOA_FONTSIZE_T" val="14"/>
  <p:tag name="MMCOA_POSITION_L" val="35.875;30.125;54.375;683.875"/>
  <p:tag name="MMCOA_POSITION_M" val="35.875;30.125;54.375;683.875"/>
  <p:tag name="MMCOA_POSITION_S" val="35.875;30.125;54.375;683.875"/>
  <p:tag name="MMCOA_POSITION_T" val="35.875;30.125;54.375;683.875"/>
  <p:tag name="MMCOA_HIDEONCOLOUR" val="N"/>
  <p:tag name="MMCOA_HIDEONWHITE" val="N"/>
  <p:tag name="MMCOA_HIDEONBALLROOM" val="N"/>
  <p:tag name="MMCOA_HIDEONCLASSIC" val="N"/>
  <p:tag name="MMCOA_HIDEONTEXT" val="N"/>
  <p:tag name="MMCOA_HIDEONECO" val="N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EXTENDEDFILLCOLOUR" val=""/>
  <p:tag name="MMCOA_SMARTSHAPE" val="Y"/>
  <p:tag name="MMCOA_FONTSIZE_L" val="28"/>
  <p:tag name="MMCOA_FONTSIZE_M" val="21"/>
  <p:tag name="MMCOA_FONTSIZE_S" val="14"/>
  <p:tag name="MMCOA_FONTSIZE_T" val="14"/>
  <p:tag name="MMCOA_POSITION_L" val="35.875;30.125;54.375;683.875"/>
  <p:tag name="MMCOA_POSITION_M" val="35.875;30.125;54.375;683.875"/>
  <p:tag name="MMCOA_POSITION_S" val="35.875;30.125;54.375;683.875"/>
  <p:tag name="MMCOA_POSITION_T" val="35.875;30.125;54.375;683.875"/>
  <p:tag name="MMCOA_HIDEONCOLOUR" val="N"/>
  <p:tag name="MMCOA_HIDEONWHITE" val="N"/>
  <p:tag name="MMCOA_HIDEONBALLROOM" val="N"/>
  <p:tag name="MMCOA_HIDEONCLASSIC" val="N"/>
  <p:tag name="MMCOA_HIDEONTEXT" val="N"/>
  <p:tag name="MMCOA_HIDEONECO" val="N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EXTENDEDFILLCOLOUR" val=""/>
  <p:tag name="MMCOA_SMARTSHAPE" val="Y"/>
  <p:tag name="MMCOA_FONTSIZE_L" val="28"/>
  <p:tag name="MMCOA_FONTSIZE_M" val="21"/>
  <p:tag name="MMCOA_FONTSIZE_S" val="14"/>
  <p:tag name="MMCOA_FONTSIZE_T" val="14"/>
  <p:tag name="MMCOA_POSITION_L" val="35.875;30.125;54.375;683.875"/>
  <p:tag name="MMCOA_POSITION_M" val="35.875;30.125;54.375;683.875"/>
  <p:tag name="MMCOA_POSITION_S" val="35.875;30.125;54.375;683.875"/>
  <p:tag name="MMCOA_POSITION_T" val="35.875;30.125;54.375;683.875"/>
  <p:tag name="MMCOA_HIDEONCOLOUR" val="N"/>
  <p:tag name="MMCOA_HIDEONWHITE" val="N"/>
  <p:tag name="MMCOA_HIDEONBALLROOM" val="N"/>
  <p:tag name="MMCOA_HIDEONCLASSIC" val="N"/>
  <p:tag name="MMCOA_HIDEONTEXT" val="N"/>
  <p:tag name="MMCOA_HIDEONECO" val="N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EXTENDEDFILLCOLOUR" val=""/>
  <p:tag name="MMCOA_SMARTSHAPE" val="Y"/>
  <p:tag name="MMCOA_FONTSIZE_L" val="28"/>
  <p:tag name="MMCOA_FONTSIZE_M" val="21"/>
  <p:tag name="MMCOA_FONTSIZE_S" val="14"/>
  <p:tag name="MMCOA_FONTSIZE_T" val="14"/>
  <p:tag name="MMCOA_POSITION_L" val="35.875;30.125;54.375;683.875"/>
  <p:tag name="MMCOA_POSITION_M" val="35.875;30.125;54.375;683.875"/>
  <p:tag name="MMCOA_POSITION_S" val="35.875;30.125;54.375;683.875"/>
  <p:tag name="MMCOA_POSITION_T" val="35.875;30.125;54.375;683.875"/>
  <p:tag name="MMCOA_HIDEONCOLOUR" val="N"/>
  <p:tag name="MMCOA_HIDEONWHITE" val="N"/>
  <p:tag name="MMCOA_HIDEONBALLROOM" val="N"/>
  <p:tag name="MMCOA_HIDEONCLASSIC" val="N"/>
  <p:tag name="MMCOA_HIDEONTEXT" val="N"/>
  <p:tag name="MMCOA_HIDEONECO" val="N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EXTENDEDFILLCOLOUR" val=""/>
  <p:tag name="MMCOA_SMARTSHAPE" val="Y"/>
  <p:tag name="MMCOA_FONTSIZE_L" val="28"/>
  <p:tag name="MMCOA_FONTSIZE_M" val="21"/>
  <p:tag name="MMCOA_FONTSIZE_S" val="14"/>
  <p:tag name="MMCOA_FONTSIZE_T" val="14"/>
  <p:tag name="MMCOA_POSITION_L" val="35.875;30.125;54.375;683.875"/>
  <p:tag name="MMCOA_POSITION_M" val="35.875;30.125;54.375;683.875"/>
  <p:tag name="MMCOA_POSITION_S" val="35.875;30.125;54.375;683.875"/>
  <p:tag name="MMCOA_POSITION_T" val="35.875;30.125;54.375;683.875"/>
  <p:tag name="MMCOA_HIDEONCOLOUR" val="N"/>
  <p:tag name="MMCOA_HIDEONWHITE" val="N"/>
  <p:tag name="MMCOA_HIDEONBALLROOM" val="N"/>
  <p:tag name="MMCOA_HIDEONCLASSIC" val="N"/>
  <p:tag name="MMCOA_HIDEONTEXT" val="N"/>
  <p:tag name="MMCOA_HIDEONECO" val="N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EXTENDEDFILLCOLOUR" val=""/>
  <p:tag name="MMCOA_SMARTSHAPE" val="Y"/>
  <p:tag name="MMCOA_FONTSIZE_L" val="28"/>
  <p:tag name="MMCOA_FONTSIZE_M" val="21"/>
  <p:tag name="MMCOA_FONTSIZE_S" val="14"/>
  <p:tag name="MMCOA_FONTSIZE_T" val="14"/>
  <p:tag name="MMCOA_POSITION_L" val="35.875;30.125;54.375;683.875"/>
  <p:tag name="MMCOA_POSITION_M" val="35.875;30.125;54.375;683.875"/>
  <p:tag name="MMCOA_POSITION_S" val="35.875;30.125;54.375;683.875"/>
  <p:tag name="MMCOA_POSITION_T" val="35.875;30.125;54.375;683.875"/>
  <p:tag name="MMCOA_HIDEONCOLOUR" val="N"/>
  <p:tag name="MMCOA_HIDEONWHITE" val="N"/>
  <p:tag name="MMCOA_HIDEONBALLROOM" val="N"/>
  <p:tag name="MMCOA_HIDEONCLASSIC" val="N"/>
  <p:tag name="MMCOA_HIDEONTEXT" val="N"/>
  <p:tag name="MMCOA_HIDEONECO" val="N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EXTENDEDFILLCOLOUR" val=""/>
  <p:tag name="MMCOA_SMARTSHAPE" val="Y"/>
  <p:tag name="MMCOA_FONTSIZE_L" val="28"/>
  <p:tag name="MMCOA_FONTSIZE_M" val="21"/>
  <p:tag name="MMCOA_FONTSIZE_S" val="14"/>
  <p:tag name="MMCOA_FONTSIZE_T" val="14"/>
  <p:tag name="MMCOA_POSITION_L" val="35.875;30.125;54.375;683.875"/>
  <p:tag name="MMCOA_POSITION_M" val="35.875;30.125;54.375;683.875"/>
  <p:tag name="MMCOA_POSITION_S" val="35.875;30.125;54.375;683.875"/>
  <p:tag name="MMCOA_POSITION_T" val="35.875;30.125;54.375;683.875"/>
  <p:tag name="MMCOA_HIDEONCOLOUR" val="N"/>
  <p:tag name="MMCOA_HIDEONWHITE" val="N"/>
  <p:tag name="MMCOA_HIDEONBALLROOM" val="N"/>
  <p:tag name="MMCOA_HIDEONCLASSIC" val="N"/>
  <p:tag name="MMCOA_HIDEONTEXT" val="N"/>
  <p:tag name="MMCOA_HIDEONECO" val="N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EXTENDEDFILLCOLOUR" val=""/>
  <p:tag name="MMCOA_SMARTSHAPE" val="Y"/>
  <p:tag name="MMCOA_FONTSIZE_L" val="28"/>
  <p:tag name="MMCOA_FONTSIZE_M" val="21"/>
  <p:tag name="MMCOA_FONTSIZE_S" val="14"/>
  <p:tag name="MMCOA_FONTSIZE_T" val="14"/>
  <p:tag name="MMCOA_POSITION_L" val="35.875;30.125;54.375;683.875"/>
  <p:tag name="MMCOA_POSITION_M" val="35.875;30.125;54.375;683.875"/>
  <p:tag name="MMCOA_POSITION_S" val="35.875;30.125;54.375;683.875"/>
  <p:tag name="MMCOA_POSITION_T" val="35.875;30.125;54.375;683.875"/>
  <p:tag name="MMCOA_HIDEONCOLOUR" val="N"/>
  <p:tag name="MMCOA_HIDEONWHITE" val="N"/>
  <p:tag name="MMCOA_HIDEONBALLROOM" val="N"/>
  <p:tag name="MMCOA_HIDEONCLASSIC" val="N"/>
  <p:tag name="MMCOA_HIDEONTEXT" val="N"/>
  <p:tag name="MMCOA_HIDEONECO" val="N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sCDKYRDHIjM4IJeVogiK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4.3-Template_4.29.2016">
  <a:themeElements>
    <a:clrScheme name="Custom 2">
      <a:dk1>
        <a:sysClr val="windowText" lastClr="000000"/>
      </a:dk1>
      <a:lt1>
        <a:srgbClr val="FFFFFF"/>
      </a:lt1>
      <a:dk2>
        <a:srgbClr val="002F6C"/>
      </a:dk2>
      <a:lt2>
        <a:srgbClr val="BA0C2F"/>
      </a:lt2>
      <a:accent1>
        <a:srgbClr val="002F6C"/>
      </a:accent1>
      <a:accent2>
        <a:srgbClr val="BA0C2F"/>
      </a:accent2>
      <a:accent3>
        <a:srgbClr val="6C6463"/>
      </a:accent3>
      <a:accent4>
        <a:srgbClr val="000000"/>
      </a:accent4>
      <a:accent5>
        <a:srgbClr val="CFCDC9"/>
      </a:accent5>
      <a:accent6>
        <a:srgbClr val="0067B9"/>
      </a:accent6>
      <a:hlink>
        <a:srgbClr val="6C6463"/>
      </a:hlink>
      <a:folHlink>
        <a:srgbClr val="CFCDC9"/>
      </a:folHlink>
    </a:clrScheme>
    <a:fontScheme name="Solstice">
      <a:majorFont>
        <a:latin typeface="Gill Sans MT"/>
        <a:ea typeface=""/>
        <a:cs typeface=""/>
        <a:font script="Grek" typeface="Corbel"/>
        <a:font script="Cyrl" typeface="Corbel"/>
        <a:font script="Jpan" typeface="ＭＳ ゴシック"/>
        <a:font script="Hang" typeface="휴먼매직체"/>
        <a:font script="Hans" typeface="华文中宋"/>
        <a:font script="Hant" typeface="微軟正黑體"/>
        <a:font script="Arab" typeface="Majalla UI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</a:majorFont>
      <a:minorFont>
        <a:latin typeface="Gill Sans MT"/>
        <a:ea typeface=""/>
        <a:cs typeface=""/>
        <a:font script="Grek" typeface="Corbel"/>
        <a:font script="Cyrl" typeface="Corbel"/>
        <a:font script="Jpan" typeface="ＭＳ ゴシック"/>
        <a:font script="Hang" typeface="HY엽서L"/>
        <a:font script="Hans" typeface="华文中宋"/>
        <a:font script="Hant" typeface="微軟正黑體"/>
        <a:font script="Arab" typeface="Majalla UI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10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1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1_Presentation_Refresh 4:3">
  <a:themeElements>
    <a:clrScheme name="Custom 5">
      <a:dk1>
        <a:srgbClr val="555759"/>
      </a:dk1>
      <a:lt1>
        <a:sysClr val="window" lastClr="FFFFFF"/>
      </a:lt1>
      <a:dk2>
        <a:srgbClr val="555759"/>
      </a:dk2>
      <a:lt2>
        <a:srgbClr val="FFFFFF"/>
      </a:lt2>
      <a:accent1>
        <a:srgbClr val="555759"/>
      </a:accent1>
      <a:accent2>
        <a:srgbClr val="95D600"/>
      </a:accent2>
      <a:accent3>
        <a:srgbClr val="0093C9"/>
      </a:accent3>
      <a:accent4>
        <a:srgbClr val="FFB718"/>
      </a:accent4>
      <a:accent5>
        <a:srgbClr val="E53C2E"/>
      </a:accent5>
      <a:accent6>
        <a:srgbClr val="8B189B"/>
      </a:accent6>
      <a:hlink>
        <a:srgbClr val="85D206"/>
      </a:hlink>
      <a:folHlink>
        <a:srgbClr val="648C1A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1270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Palatino Linotype" pitchFamily="18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1270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Palatino Linotype" pitchFamily="18" charset="0"/>
          </a:defRPr>
        </a:defPPr>
      </a:lstStyle>
    </a:lnDef>
  </a:objectDefaults>
  <a:extraClrSchemeLst>
    <a:extraClrScheme>
      <a:clrScheme name="NCI Powerpoint 1">
        <a:dk1>
          <a:srgbClr val="000000"/>
        </a:dk1>
        <a:lt1>
          <a:srgbClr val="FFFFFF"/>
        </a:lt1>
        <a:dk2>
          <a:srgbClr val="6F6754"/>
        </a:dk2>
        <a:lt2>
          <a:srgbClr val="D8D6D2"/>
        </a:lt2>
        <a:accent1>
          <a:srgbClr val="B88740"/>
        </a:accent1>
        <a:accent2>
          <a:srgbClr val="3F4A13"/>
        </a:accent2>
        <a:accent3>
          <a:srgbClr val="FFFFFF"/>
        </a:accent3>
        <a:accent4>
          <a:srgbClr val="000000"/>
        </a:accent4>
        <a:accent5>
          <a:srgbClr val="D8C3AF"/>
        </a:accent5>
        <a:accent6>
          <a:srgbClr val="384210"/>
        </a:accent6>
        <a:hlink>
          <a:srgbClr val="093678"/>
        </a:hlink>
        <a:folHlink>
          <a:srgbClr val="A15F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CI Powerpoint 2">
        <a:dk1>
          <a:srgbClr val="000000"/>
        </a:dk1>
        <a:lt1>
          <a:srgbClr val="FFFFFF"/>
        </a:lt1>
        <a:dk2>
          <a:srgbClr val="6F6754"/>
        </a:dk2>
        <a:lt2>
          <a:srgbClr val="D8D6D2"/>
        </a:lt2>
        <a:accent1>
          <a:srgbClr val="AB6240"/>
        </a:accent1>
        <a:accent2>
          <a:srgbClr val="3F4A13"/>
        </a:accent2>
        <a:accent3>
          <a:srgbClr val="FFFFFF"/>
        </a:accent3>
        <a:accent4>
          <a:srgbClr val="000000"/>
        </a:accent4>
        <a:accent5>
          <a:srgbClr val="D2B7AF"/>
        </a:accent5>
        <a:accent6>
          <a:srgbClr val="384210"/>
        </a:accent6>
        <a:hlink>
          <a:srgbClr val="093678"/>
        </a:hlink>
        <a:folHlink>
          <a:srgbClr val="8F2E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CI Powerpoint 3">
        <a:dk1>
          <a:srgbClr val="000000"/>
        </a:dk1>
        <a:lt1>
          <a:srgbClr val="FFFFFF"/>
        </a:lt1>
        <a:dk2>
          <a:srgbClr val="6F6754"/>
        </a:dk2>
        <a:lt2>
          <a:srgbClr val="D8D6D2"/>
        </a:lt2>
        <a:accent1>
          <a:srgbClr val="855576"/>
        </a:accent1>
        <a:accent2>
          <a:srgbClr val="3F4A13"/>
        </a:accent2>
        <a:accent3>
          <a:srgbClr val="FFFFFF"/>
        </a:accent3>
        <a:accent4>
          <a:srgbClr val="000000"/>
        </a:accent4>
        <a:accent5>
          <a:srgbClr val="C2B4BD"/>
        </a:accent5>
        <a:accent6>
          <a:srgbClr val="384210"/>
        </a:accent6>
        <a:hlink>
          <a:srgbClr val="A15F00"/>
        </a:hlink>
        <a:folHlink>
          <a:srgbClr val="5C1C4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CI Powerpoint 4">
        <a:dk1>
          <a:srgbClr val="000000"/>
        </a:dk1>
        <a:lt1>
          <a:srgbClr val="FFFFFF"/>
        </a:lt1>
        <a:dk2>
          <a:srgbClr val="6F6754"/>
        </a:dk2>
        <a:lt2>
          <a:srgbClr val="D8D6D2"/>
        </a:lt2>
        <a:accent1>
          <a:srgbClr val="46689A"/>
        </a:accent1>
        <a:accent2>
          <a:srgbClr val="5C2801"/>
        </a:accent2>
        <a:accent3>
          <a:srgbClr val="FFFFFF"/>
        </a:accent3>
        <a:accent4>
          <a:srgbClr val="000000"/>
        </a:accent4>
        <a:accent5>
          <a:srgbClr val="B0B9CA"/>
        </a:accent5>
        <a:accent6>
          <a:srgbClr val="532301"/>
        </a:accent6>
        <a:hlink>
          <a:srgbClr val="17524E"/>
        </a:hlink>
        <a:folHlink>
          <a:srgbClr val="09367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CI Powerpoint 5">
        <a:dk1>
          <a:srgbClr val="000000"/>
        </a:dk1>
        <a:lt1>
          <a:srgbClr val="FFFFFF"/>
        </a:lt1>
        <a:dk2>
          <a:srgbClr val="6F6754"/>
        </a:dk2>
        <a:lt2>
          <a:srgbClr val="D8D6D2"/>
        </a:lt2>
        <a:accent1>
          <a:srgbClr val="517D7A"/>
        </a:accent1>
        <a:accent2>
          <a:srgbClr val="A15F00"/>
        </a:accent2>
        <a:accent3>
          <a:srgbClr val="FFFFFF"/>
        </a:accent3>
        <a:accent4>
          <a:srgbClr val="000000"/>
        </a:accent4>
        <a:accent5>
          <a:srgbClr val="B3BFBE"/>
        </a:accent5>
        <a:accent6>
          <a:srgbClr val="915500"/>
        </a:accent6>
        <a:hlink>
          <a:srgbClr val="5C1C49"/>
        </a:hlink>
        <a:folHlink>
          <a:srgbClr val="17524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CI Powerpoint 6">
        <a:dk1>
          <a:srgbClr val="000000"/>
        </a:dk1>
        <a:lt1>
          <a:srgbClr val="FFFFFF"/>
        </a:lt1>
        <a:dk2>
          <a:srgbClr val="6F6754"/>
        </a:dk2>
        <a:lt2>
          <a:srgbClr val="D8D6D2"/>
        </a:lt2>
        <a:accent1>
          <a:srgbClr val="6F774E"/>
        </a:accent1>
        <a:accent2>
          <a:srgbClr val="093678"/>
        </a:accent2>
        <a:accent3>
          <a:srgbClr val="FFFFFF"/>
        </a:accent3>
        <a:accent4>
          <a:srgbClr val="000000"/>
        </a:accent4>
        <a:accent5>
          <a:srgbClr val="BBBDB2"/>
        </a:accent5>
        <a:accent6>
          <a:srgbClr val="07306C"/>
        </a:accent6>
        <a:hlink>
          <a:srgbClr val="8F2E00"/>
        </a:hlink>
        <a:folHlink>
          <a:srgbClr val="3F4A1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CI Powerpoint 7">
        <a:dk1>
          <a:srgbClr val="000000"/>
        </a:dk1>
        <a:lt1>
          <a:srgbClr val="FFFFFF"/>
        </a:lt1>
        <a:dk2>
          <a:srgbClr val="6F6754"/>
        </a:dk2>
        <a:lt2>
          <a:srgbClr val="D8D6D2"/>
        </a:lt2>
        <a:accent1>
          <a:srgbClr val="855E40"/>
        </a:accent1>
        <a:accent2>
          <a:srgbClr val="17524E"/>
        </a:accent2>
        <a:accent3>
          <a:srgbClr val="FFFFFF"/>
        </a:accent3>
        <a:accent4>
          <a:srgbClr val="000000"/>
        </a:accent4>
        <a:accent5>
          <a:srgbClr val="C2B6AF"/>
        </a:accent5>
        <a:accent6>
          <a:srgbClr val="144946"/>
        </a:accent6>
        <a:hlink>
          <a:srgbClr val="8F2E00"/>
        </a:hlink>
        <a:folHlink>
          <a:srgbClr val="5C280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Presentation2" id="{BEE83EC7-0760-42FD-9151-72E39E1269C6}" vid="{D74689B0-0388-473D-A06D-3EB489E9CE60}"/>
    </a:ext>
  </a:extLst>
</a:theme>
</file>

<file path=ppt/theme/theme3.xml><?xml version="1.0" encoding="utf-8"?>
<a:theme xmlns:a="http://schemas.openxmlformats.org/drawingml/2006/main" name="2_4.3-Template_4.29.2016">
  <a:themeElements>
    <a:clrScheme name="Custom 2">
      <a:dk1>
        <a:sysClr val="windowText" lastClr="000000"/>
      </a:dk1>
      <a:lt1>
        <a:srgbClr val="FFFFFF"/>
      </a:lt1>
      <a:dk2>
        <a:srgbClr val="002F6C"/>
      </a:dk2>
      <a:lt2>
        <a:srgbClr val="BA0C2F"/>
      </a:lt2>
      <a:accent1>
        <a:srgbClr val="002F6C"/>
      </a:accent1>
      <a:accent2>
        <a:srgbClr val="BA0C2F"/>
      </a:accent2>
      <a:accent3>
        <a:srgbClr val="6C6463"/>
      </a:accent3>
      <a:accent4>
        <a:srgbClr val="000000"/>
      </a:accent4>
      <a:accent5>
        <a:srgbClr val="CFCDC9"/>
      </a:accent5>
      <a:accent6>
        <a:srgbClr val="0067B9"/>
      </a:accent6>
      <a:hlink>
        <a:srgbClr val="6C6463"/>
      </a:hlink>
      <a:folHlink>
        <a:srgbClr val="CFCDC9"/>
      </a:folHlink>
    </a:clrScheme>
    <a:fontScheme name="Solstice">
      <a:majorFont>
        <a:latin typeface="Gill Sans MT"/>
        <a:ea typeface=""/>
        <a:cs typeface=""/>
        <a:font script="Grek" typeface="Corbel"/>
        <a:font script="Cyrl" typeface="Corbel"/>
        <a:font script="Jpan" typeface="ＭＳ ゴシック"/>
        <a:font script="Hang" typeface="휴먼매직체"/>
        <a:font script="Hans" typeface="华文中宋"/>
        <a:font script="Hant" typeface="微軟正黑體"/>
        <a:font script="Arab" typeface="Majalla UI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</a:majorFont>
      <a:minorFont>
        <a:latin typeface="Gill Sans MT"/>
        <a:ea typeface=""/>
        <a:cs typeface=""/>
        <a:font script="Grek" typeface="Corbel"/>
        <a:font script="Cyrl" typeface="Corbel"/>
        <a:font script="Jpan" typeface="ＭＳ ゴシック"/>
        <a:font script="Hang" typeface="HY엽서L"/>
        <a:font script="Hans" typeface="华文中宋"/>
        <a:font script="Hant" typeface="微軟正黑體"/>
        <a:font script="Arab" typeface="Majalla UI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4.xml><?xml version="1.0" encoding="utf-8"?>
<a:theme xmlns:a="http://schemas.openxmlformats.org/drawingml/2006/main" name="Navigant_Gray">
  <a:themeElements>
    <a:clrScheme name="Navigant">
      <a:dk1>
        <a:srgbClr val="555759"/>
      </a:dk1>
      <a:lt1>
        <a:srgbClr val="FFFFFF"/>
      </a:lt1>
      <a:dk2>
        <a:srgbClr val="555759"/>
      </a:dk2>
      <a:lt2>
        <a:srgbClr val="FFFFFF"/>
      </a:lt2>
      <a:accent1>
        <a:srgbClr val="648C1A"/>
      </a:accent1>
      <a:accent2>
        <a:srgbClr val="95D600"/>
      </a:accent2>
      <a:accent3>
        <a:srgbClr val="FFB718"/>
      </a:accent3>
      <a:accent4>
        <a:srgbClr val="E53C2E"/>
      </a:accent4>
      <a:accent5>
        <a:srgbClr val="8B189B"/>
      </a:accent5>
      <a:accent6>
        <a:srgbClr val="0093C9"/>
      </a:accent6>
      <a:hlink>
        <a:srgbClr val="648C1A"/>
      </a:hlink>
      <a:folHlink>
        <a:srgbClr val="95D600"/>
      </a:folHlink>
    </a:clrScheme>
    <a:fontScheme name="Oliver Wyman">
      <a:majorFont>
        <a:latin typeface="Arial"/>
        <a:ea typeface=""/>
        <a:cs typeface=""/>
        <a:font script="Jpan" typeface="Meiryo"/>
        <a:font script="Hang" typeface="맑은 고딕"/>
        <a:font script="Hans" typeface="STKaiti"/>
        <a:font script="Hant" typeface="STKaiti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Arial"/>
        <a:ea typeface=""/>
        <a:cs typeface=""/>
        <a:font script="Jpan" typeface="Meiryo"/>
        <a:font script="Hang" typeface="맑은 고딕"/>
        <a:font script="Hans" typeface="STKaiti"/>
        <a:font script="Hant" typeface="STKaiti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liver Wyman">
      <a:fillStyleLst>
        <a:solidFill>
          <a:schemeClr val="phClr"/>
        </a:solidFill>
        <a:solidFill>
          <a:schemeClr val="phClr">
            <a:tint val="0"/>
          </a:schemeClr>
        </a:solidFill>
        <a:solidFill>
          <a:schemeClr val="phClr"/>
        </a:solidFill>
      </a:fillStyleLst>
      <a:lnStyleLst>
        <a:ln w="9525" cap="flat" cmpd="sng" algn="ctr">
          <a:solidFill>
            <a:schemeClr val="phClr">
              <a:satMod val="105000"/>
            </a:schemeClr>
          </a:solidFill>
          <a:prstDash val="solid"/>
        </a:ln>
        <a:ln w="9525" cap="flat" cmpd="sng" algn="ctr">
          <a:solidFill>
            <a:schemeClr val="phClr"/>
          </a:solidFill>
          <a:prstDash val="solid"/>
        </a:ln>
        <a:ln w="9525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reflection blurRad="12700" stA="26000" endPos="28000" dist="38100" dir="5400000" sy="-100000" rotWithShape="0"/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</a:schemeClr>
        </a:solidFill>
        <a:gradFill rotWithShape="1">
          <a:gsLst>
            <a:gs pos="0">
              <a:schemeClr val="phClr">
                <a:tint val="100000"/>
                <a:shade val="60000"/>
                <a:satMod val="300000"/>
              </a:schemeClr>
            </a:gs>
            <a:gs pos="30000">
              <a:schemeClr val="phClr">
                <a:shade val="80000"/>
                <a:satMod val="230000"/>
              </a:schemeClr>
            </a:gs>
            <a:gs pos="100000">
              <a:schemeClr val="phClr">
                <a:tint val="97000"/>
                <a:shade val="100000"/>
                <a:satMod val="220000"/>
              </a:schemeClr>
            </a:gs>
          </a:gsLst>
          <a:lin ang="16200000" scaled="0"/>
        </a:gradFill>
      </a:bgFillStyleLst>
    </a:fmtScheme>
  </a:themeElements>
  <a:objectDefaults>
    <a:spDef>
      <a:spPr>
        <a:solidFill>
          <a:schemeClr val="bg1"/>
        </a:solidFill>
        <a:ln w="9525">
          <a:solidFill>
            <a:schemeClr val="tx1"/>
          </a:solidFill>
        </a:ln>
      </a:spPr>
      <a:bodyPr lIns="73152" tIns="73152" rIns="73152" bIns="73152" rtlCol="0" anchor="ctr">
        <a:noAutofit/>
      </a:bodyPr>
      <a:lstStyle>
        <a:defPPr algn="ctr">
          <a:lnSpc>
            <a:spcPct val="100000"/>
          </a:lnSpc>
          <a:defRPr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lnSpc>
            <a:spcPct val="100000"/>
          </a:lnSpc>
          <a:defRPr dirty="0" err="1" smtClean="0"/>
        </a:defPPr>
      </a:lstStyle>
    </a:txDef>
  </a:objectDefaults>
  <a:extraClrSchemeLst/>
  <a:custClrLst>
    <a:custClr name="OW Emerald">
      <a:srgbClr val="41A441"/>
    </a:custClr>
    <a:custClr name="Light Emerald">
      <a:srgbClr val="BDDDA3"/>
    </a:custClr>
    <a:custClr name="OW Iolite">
      <a:srgbClr val="646EAC"/>
    </a:custClr>
    <a:custClr name="Light Iolite">
      <a:srgbClr val="C5CAE7"/>
    </a:custClr>
    <a:custClr name="OW Citrine">
      <a:srgbClr val="DD712C"/>
    </a:custClr>
    <a:custClr name="Light Citrine">
      <a:srgbClr val="FDCFAC"/>
    </a:custClr>
    <a:custClr name="OW Turquoise">
      <a:srgbClr val="079B84"/>
    </a:custClr>
    <a:custClr name="Light Turquoise">
      <a:srgbClr val="A8DAC9"/>
    </a:custClr>
    <a:custClr name="OW Ruby">
      <a:srgbClr val="CB225B"/>
    </a:custClr>
    <a:custClr name="Light Ruby">
      <a:srgbClr val="F8B8BC"/>
    </a:custClr>
    <a:custClr name="Pure Red">
      <a:srgbClr val="FF0000"/>
    </a:custClr>
    <a:custClr name="Bright Onyx">
      <a:srgbClr val="808080"/>
    </a:custClr>
    <a:custClr name="Table Onyx">
      <a:srgbClr val="E8E8E8"/>
    </a:custClr>
    <a:custClr name="Medium Sapphire">
      <a:srgbClr val="016D9F"/>
    </a:custClr>
    <a:custClr name="Bright Sapphire">
      <a:srgbClr val="00A8C8"/>
    </a:custClr>
    <a:custClr name="Pale Sapphire">
      <a:srgbClr val="E1FAFF"/>
    </a:custClr>
    <a:custClr name="Dark Topaz">
      <a:srgbClr val="8E5501"/>
    </a:custClr>
    <a:custClr name="Pale Topaz">
      <a:srgbClr val="FFEED5"/>
    </a:custClr>
    <a:custClr name="Dark Emerald">
      <a:srgbClr val="00582D"/>
    </a:custClr>
    <a:custClr name="Pale Emerald">
      <a:srgbClr val="E2EDC3"/>
    </a:custClr>
  </a:custClrLst>
  <a:extLst>
    <a:ext uri="{05A4C25C-085E-4340-85A3-A5531E510DB2}">
      <thm15:themeFamily xmlns:thm15="http://schemas.microsoft.com/office/thememl/2012/main" name="Navigant template" id="{A43CD75E-9E68-4CD0-959B-6AC5A5067945}" vid="{159CC80E-3ACF-41DC-A678-815DB1EF3FE0}"/>
    </a:ext>
  </a:extLst>
</a:theme>
</file>

<file path=ppt/theme/theme5.xml><?xml version="1.0" encoding="utf-8"?>
<a:theme xmlns:a="http://schemas.openxmlformats.org/drawingml/2006/main" name="1_Navigant_Gray">
  <a:themeElements>
    <a:clrScheme name="Navigant">
      <a:dk1>
        <a:srgbClr val="555759"/>
      </a:dk1>
      <a:lt1>
        <a:srgbClr val="FFFFFF"/>
      </a:lt1>
      <a:dk2>
        <a:srgbClr val="555759"/>
      </a:dk2>
      <a:lt2>
        <a:srgbClr val="FFFFFF"/>
      </a:lt2>
      <a:accent1>
        <a:srgbClr val="648C1A"/>
      </a:accent1>
      <a:accent2>
        <a:srgbClr val="95D600"/>
      </a:accent2>
      <a:accent3>
        <a:srgbClr val="FFB718"/>
      </a:accent3>
      <a:accent4>
        <a:srgbClr val="E53C2E"/>
      </a:accent4>
      <a:accent5>
        <a:srgbClr val="8B189B"/>
      </a:accent5>
      <a:accent6>
        <a:srgbClr val="0093C9"/>
      </a:accent6>
      <a:hlink>
        <a:srgbClr val="648C1A"/>
      </a:hlink>
      <a:folHlink>
        <a:srgbClr val="95D600"/>
      </a:folHlink>
    </a:clrScheme>
    <a:fontScheme name="Oliver Wyman">
      <a:majorFont>
        <a:latin typeface="Arial"/>
        <a:ea typeface=""/>
        <a:cs typeface=""/>
        <a:font script="Jpan" typeface="Meiryo"/>
        <a:font script="Hang" typeface="맑은 고딕"/>
        <a:font script="Hans" typeface="STKaiti"/>
        <a:font script="Hant" typeface="STKaiti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Arial"/>
        <a:ea typeface=""/>
        <a:cs typeface=""/>
        <a:font script="Jpan" typeface="Meiryo"/>
        <a:font script="Hang" typeface="맑은 고딕"/>
        <a:font script="Hans" typeface="STKaiti"/>
        <a:font script="Hant" typeface="STKaiti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liver Wyman">
      <a:fillStyleLst>
        <a:solidFill>
          <a:schemeClr val="phClr"/>
        </a:solidFill>
        <a:solidFill>
          <a:schemeClr val="phClr">
            <a:tint val="0"/>
          </a:schemeClr>
        </a:solidFill>
        <a:solidFill>
          <a:schemeClr val="phClr"/>
        </a:solidFill>
      </a:fillStyleLst>
      <a:lnStyleLst>
        <a:ln w="9525" cap="flat" cmpd="sng" algn="ctr">
          <a:solidFill>
            <a:schemeClr val="phClr">
              <a:satMod val="105000"/>
            </a:schemeClr>
          </a:solidFill>
          <a:prstDash val="solid"/>
        </a:ln>
        <a:ln w="9525" cap="flat" cmpd="sng" algn="ctr">
          <a:solidFill>
            <a:schemeClr val="phClr"/>
          </a:solidFill>
          <a:prstDash val="solid"/>
        </a:ln>
        <a:ln w="9525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reflection blurRad="12700" stA="26000" endPos="28000" dist="38100" dir="5400000" sy="-100000" rotWithShape="0"/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</a:schemeClr>
        </a:solidFill>
        <a:gradFill rotWithShape="1">
          <a:gsLst>
            <a:gs pos="0">
              <a:schemeClr val="phClr">
                <a:tint val="100000"/>
                <a:shade val="60000"/>
                <a:satMod val="300000"/>
              </a:schemeClr>
            </a:gs>
            <a:gs pos="30000">
              <a:schemeClr val="phClr">
                <a:shade val="80000"/>
                <a:satMod val="230000"/>
              </a:schemeClr>
            </a:gs>
            <a:gs pos="100000">
              <a:schemeClr val="phClr">
                <a:tint val="97000"/>
                <a:shade val="100000"/>
                <a:satMod val="220000"/>
              </a:schemeClr>
            </a:gs>
          </a:gsLst>
          <a:lin ang="16200000" scaled="0"/>
        </a:gradFill>
      </a:bgFillStyleLst>
    </a:fmtScheme>
  </a:themeElements>
  <a:objectDefaults>
    <a:spDef>
      <a:spPr>
        <a:solidFill>
          <a:schemeClr val="bg1"/>
        </a:solidFill>
        <a:ln w="9525">
          <a:solidFill>
            <a:schemeClr val="tx1"/>
          </a:solidFill>
        </a:ln>
      </a:spPr>
      <a:bodyPr lIns="73152" tIns="73152" rIns="73152" bIns="73152" rtlCol="0" anchor="ctr">
        <a:noAutofit/>
      </a:bodyPr>
      <a:lstStyle>
        <a:defPPr algn="ctr">
          <a:lnSpc>
            <a:spcPct val="100000"/>
          </a:lnSpc>
          <a:defRPr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lnSpc>
            <a:spcPct val="100000"/>
          </a:lnSpc>
          <a:defRPr dirty="0" err="1" smtClean="0"/>
        </a:defPPr>
      </a:lstStyle>
    </a:txDef>
  </a:objectDefaults>
  <a:extraClrSchemeLst/>
  <a:custClrLst>
    <a:custClr name="OW Emerald">
      <a:srgbClr val="41A441"/>
    </a:custClr>
    <a:custClr name="Light Emerald">
      <a:srgbClr val="BDDDA3"/>
    </a:custClr>
    <a:custClr name="OW Iolite">
      <a:srgbClr val="646EAC"/>
    </a:custClr>
    <a:custClr name="Light Iolite">
      <a:srgbClr val="C5CAE7"/>
    </a:custClr>
    <a:custClr name="OW Citrine">
      <a:srgbClr val="DD712C"/>
    </a:custClr>
    <a:custClr name="Light Citrine">
      <a:srgbClr val="FDCFAC"/>
    </a:custClr>
    <a:custClr name="OW Turquoise">
      <a:srgbClr val="079B84"/>
    </a:custClr>
    <a:custClr name="Light Turquoise">
      <a:srgbClr val="A8DAC9"/>
    </a:custClr>
    <a:custClr name="OW Ruby">
      <a:srgbClr val="CB225B"/>
    </a:custClr>
    <a:custClr name="Light Ruby">
      <a:srgbClr val="F8B8BC"/>
    </a:custClr>
    <a:custClr name="Pure Red">
      <a:srgbClr val="FF0000"/>
    </a:custClr>
    <a:custClr name="Bright Onyx">
      <a:srgbClr val="808080"/>
    </a:custClr>
    <a:custClr name="Table Onyx">
      <a:srgbClr val="E8E8E8"/>
    </a:custClr>
    <a:custClr name="Medium Sapphire">
      <a:srgbClr val="016D9F"/>
    </a:custClr>
    <a:custClr name="Bright Sapphire">
      <a:srgbClr val="00A8C8"/>
    </a:custClr>
    <a:custClr name="Pale Sapphire">
      <a:srgbClr val="E1FAFF"/>
    </a:custClr>
    <a:custClr name="Dark Topaz">
      <a:srgbClr val="8E5501"/>
    </a:custClr>
    <a:custClr name="Pale Topaz">
      <a:srgbClr val="FFEED5"/>
    </a:custClr>
    <a:custClr name="Dark Emerald">
      <a:srgbClr val="00582D"/>
    </a:custClr>
    <a:custClr name="Pale Emerald">
      <a:srgbClr val="E2EDC3"/>
    </a:custClr>
  </a:custClrLst>
  <a:extLst>
    <a:ext uri="{05A4C25C-085E-4340-85A3-A5531E510DB2}">
      <thm15:themeFamily xmlns:thm15="http://schemas.microsoft.com/office/thememl/2012/main" name="Strommarkttreffen - Standortsteuerung" id="{F88D08B6-4347-42E3-BAFC-3660FBA6D522}" vid="{C305799B-7933-4F83-972F-FDDB2275C43F}"/>
    </a:ext>
  </a:extLst>
</a:theme>
</file>

<file path=ppt/theme/theme6.xml><?xml version="1.0" encoding="utf-8"?>
<a:theme xmlns:a="http://schemas.openxmlformats.org/drawingml/2006/main" name="Presentation_Refresh 4:3">
  <a:themeElements>
    <a:clrScheme name="Custom 5">
      <a:dk1>
        <a:srgbClr val="555759"/>
      </a:dk1>
      <a:lt1>
        <a:sysClr val="window" lastClr="FFFFFF"/>
      </a:lt1>
      <a:dk2>
        <a:srgbClr val="555759"/>
      </a:dk2>
      <a:lt2>
        <a:srgbClr val="FFFFFF"/>
      </a:lt2>
      <a:accent1>
        <a:srgbClr val="555759"/>
      </a:accent1>
      <a:accent2>
        <a:srgbClr val="95D600"/>
      </a:accent2>
      <a:accent3>
        <a:srgbClr val="0093C9"/>
      </a:accent3>
      <a:accent4>
        <a:srgbClr val="FFB718"/>
      </a:accent4>
      <a:accent5>
        <a:srgbClr val="E53C2E"/>
      </a:accent5>
      <a:accent6>
        <a:srgbClr val="8B189B"/>
      </a:accent6>
      <a:hlink>
        <a:srgbClr val="85D206"/>
      </a:hlink>
      <a:folHlink>
        <a:srgbClr val="648C1A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1270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800" b="0" i="0" u="none" strike="noStrike" cap="none" normalizeH="0" baseline="0" dirty="0" smtClean="0">
            <a:ln>
              <a:noFill/>
            </a:ln>
            <a:solidFill>
              <a:schemeClr val="bg1"/>
            </a:solidFill>
            <a:effectLst/>
            <a:latin typeface="+mj-lt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1270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Palatino Linotype" pitchFamily="18" charset="0"/>
          </a:defRPr>
        </a:defPPr>
      </a:lstStyle>
    </a:lnDef>
  </a:objectDefaults>
  <a:extraClrSchemeLst>
    <a:extraClrScheme>
      <a:clrScheme name="NCI Powerpoint 1">
        <a:dk1>
          <a:srgbClr val="000000"/>
        </a:dk1>
        <a:lt1>
          <a:srgbClr val="FFFFFF"/>
        </a:lt1>
        <a:dk2>
          <a:srgbClr val="6F6754"/>
        </a:dk2>
        <a:lt2>
          <a:srgbClr val="D8D6D2"/>
        </a:lt2>
        <a:accent1>
          <a:srgbClr val="B88740"/>
        </a:accent1>
        <a:accent2>
          <a:srgbClr val="3F4A13"/>
        </a:accent2>
        <a:accent3>
          <a:srgbClr val="FFFFFF"/>
        </a:accent3>
        <a:accent4>
          <a:srgbClr val="000000"/>
        </a:accent4>
        <a:accent5>
          <a:srgbClr val="D8C3AF"/>
        </a:accent5>
        <a:accent6>
          <a:srgbClr val="384210"/>
        </a:accent6>
        <a:hlink>
          <a:srgbClr val="093678"/>
        </a:hlink>
        <a:folHlink>
          <a:srgbClr val="A15F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CI Powerpoint 2">
        <a:dk1>
          <a:srgbClr val="000000"/>
        </a:dk1>
        <a:lt1>
          <a:srgbClr val="FFFFFF"/>
        </a:lt1>
        <a:dk2>
          <a:srgbClr val="6F6754"/>
        </a:dk2>
        <a:lt2>
          <a:srgbClr val="D8D6D2"/>
        </a:lt2>
        <a:accent1>
          <a:srgbClr val="AB6240"/>
        </a:accent1>
        <a:accent2>
          <a:srgbClr val="3F4A13"/>
        </a:accent2>
        <a:accent3>
          <a:srgbClr val="FFFFFF"/>
        </a:accent3>
        <a:accent4>
          <a:srgbClr val="000000"/>
        </a:accent4>
        <a:accent5>
          <a:srgbClr val="D2B7AF"/>
        </a:accent5>
        <a:accent6>
          <a:srgbClr val="384210"/>
        </a:accent6>
        <a:hlink>
          <a:srgbClr val="093678"/>
        </a:hlink>
        <a:folHlink>
          <a:srgbClr val="8F2E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CI Powerpoint 3">
        <a:dk1>
          <a:srgbClr val="000000"/>
        </a:dk1>
        <a:lt1>
          <a:srgbClr val="FFFFFF"/>
        </a:lt1>
        <a:dk2>
          <a:srgbClr val="6F6754"/>
        </a:dk2>
        <a:lt2>
          <a:srgbClr val="D8D6D2"/>
        </a:lt2>
        <a:accent1>
          <a:srgbClr val="855576"/>
        </a:accent1>
        <a:accent2>
          <a:srgbClr val="3F4A13"/>
        </a:accent2>
        <a:accent3>
          <a:srgbClr val="FFFFFF"/>
        </a:accent3>
        <a:accent4>
          <a:srgbClr val="000000"/>
        </a:accent4>
        <a:accent5>
          <a:srgbClr val="C2B4BD"/>
        </a:accent5>
        <a:accent6>
          <a:srgbClr val="384210"/>
        </a:accent6>
        <a:hlink>
          <a:srgbClr val="A15F00"/>
        </a:hlink>
        <a:folHlink>
          <a:srgbClr val="5C1C4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CI Powerpoint 4">
        <a:dk1>
          <a:srgbClr val="000000"/>
        </a:dk1>
        <a:lt1>
          <a:srgbClr val="FFFFFF"/>
        </a:lt1>
        <a:dk2>
          <a:srgbClr val="6F6754"/>
        </a:dk2>
        <a:lt2>
          <a:srgbClr val="D8D6D2"/>
        </a:lt2>
        <a:accent1>
          <a:srgbClr val="46689A"/>
        </a:accent1>
        <a:accent2>
          <a:srgbClr val="5C2801"/>
        </a:accent2>
        <a:accent3>
          <a:srgbClr val="FFFFFF"/>
        </a:accent3>
        <a:accent4>
          <a:srgbClr val="000000"/>
        </a:accent4>
        <a:accent5>
          <a:srgbClr val="B0B9CA"/>
        </a:accent5>
        <a:accent6>
          <a:srgbClr val="532301"/>
        </a:accent6>
        <a:hlink>
          <a:srgbClr val="17524E"/>
        </a:hlink>
        <a:folHlink>
          <a:srgbClr val="09367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CI Powerpoint 5">
        <a:dk1>
          <a:srgbClr val="000000"/>
        </a:dk1>
        <a:lt1>
          <a:srgbClr val="FFFFFF"/>
        </a:lt1>
        <a:dk2>
          <a:srgbClr val="6F6754"/>
        </a:dk2>
        <a:lt2>
          <a:srgbClr val="D8D6D2"/>
        </a:lt2>
        <a:accent1>
          <a:srgbClr val="517D7A"/>
        </a:accent1>
        <a:accent2>
          <a:srgbClr val="A15F00"/>
        </a:accent2>
        <a:accent3>
          <a:srgbClr val="FFFFFF"/>
        </a:accent3>
        <a:accent4>
          <a:srgbClr val="000000"/>
        </a:accent4>
        <a:accent5>
          <a:srgbClr val="B3BFBE"/>
        </a:accent5>
        <a:accent6>
          <a:srgbClr val="915500"/>
        </a:accent6>
        <a:hlink>
          <a:srgbClr val="5C1C49"/>
        </a:hlink>
        <a:folHlink>
          <a:srgbClr val="17524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CI Powerpoint 6">
        <a:dk1>
          <a:srgbClr val="000000"/>
        </a:dk1>
        <a:lt1>
          <a:srgbClr val="FFFFFF"/>
        </a:lt1>
        <a:dk2>
          <a:srgbClr val="6F6754"/>
        </a:dk2>
        <a:lt2>
          <a:srgbClr val="D8D6D2"/>
        </a:lt2>
        <a:accent1>
          <a:srgbClr val="6F774E"/>
        </a:accent1>
        <a:accent2>
          <a:srgbClr val="093678"/>
        </a:accent2>
        <a:accent3>
          <a:srgbClr val="FFFFFF"/>
        </a:accent3>
        <a:accent4>
          <a:srgbClr val="000000"/>
        </a:accent4>
        <a:accent5>
          <a:srgbClr val="BBBDB2"/>
        </a:accent5>
        <a:accent6>
          <a:srgbClr val="07306C"/>
        </a:accent6>
        <a:hlink>
          <a:srgbClr val="8F2E00"/>
        </a:hlink>
        <a:folHlink>
          <a:srgbClr val="3F4A1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CI Powerpoint 7">
        <a:dk1>
          <a:srgbClr val="000000"/>
        </a:dk1>
        <a:lt1>
          <a:srgbClr val="FFFFFF"/>
        </a:lt1>
        <a:dk2>
          <a:srgbClr val="6F6754"/>
        </a:dk2>
        <a:lt2>
          <a:srgbClr val="D8D6D2"/>
        </a:lt2>
        <a:accent1>
          <a:srgbClr val="855E40"/>
        </a:accent1>
        <a:accent2>
          <a:srgbClr val="17524E"/>
        </a:accent2>
        <a:accent3>
          <a:srgbClr val="FFFFFF"/>
        </a:accent3>
        <a:accent4>
          <a:srgbClr val="000000"/>
        </a:accent4>
        <a:accent5>
          <a:srgbClr val="C2B6AF"/>
        </a:accent5>
        <a:accent6>
          <a:srgbClr val="144946"/>
        </a:accent6>
        <a:hlink>
          <a:srgbClr val="8F2E00"/>
        </a:hlink>
        <a:folHlink>
          <a:srgbClr val="5C280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CORP_BrandRefreshNavigantTemplate4x3_PPT_FINAL.potx" id="{D18732E3-5FC8-4543-9315-A259989668F0}" vid="{E2EC561C-9127-47EA-9B2A-1ACA8630C48B}"/>
    </a:ext>
  </a:extLst>
</a:theme>
</file>

<file path=ppt/theme/theme7.xml><?xml version="1.0" encoding="utf-8"?>
<a:theme xmlns:a="http://schemas.openxmlformats.org/drawingml/2006/main" name="2_Presentation_Refresh 4:3">
  <a:themeElements>
    <a:clrScheme name="Custom 5">
      <a:dk1>
        <a:srgbClr val="555759"/>
      </a:dk1>
      <a:lt1>
        <a:sysClr val="window" lastClr="FFFFFF"/>
      </a:lt1>
      <a:dk2>
        <a:srgbClr val="555759"/>
      </a:dk2>
      <a:lt2>
        <a:srgbClr val="FFFFFF"/>
      </a:lt2>
      <a:accent1>
        <a:srgbClr val="555759"/>
      </a:accent1>
      <a:accent2>
        <a:srgbClr val="95D600"/>
      </a:accent2>
      <a:accent3>
        <a:srgbClr val="0093C9"/>
      </a:accent3>
      <a:accent4>
        <a:srgbClr val="FFB718"/>
      </a:accent4>
      <a:accent5>
        <a:srgbClr val="E53C2E"/>
      </a:accent5>
      <a:accent6>
        <a:srgbClr val="8B189B"/>
      </a:accent6>
      <a:hlink>
        <a:srgbClr val="85D206"/>
      </a:hlink>
      <a:folHlink>
        <a:srgbClr val="648C1A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1270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800" b="0" i="0" u="none" strike="noStrike" cap="none" normalizeH="0" baseline="0" dirty="0" smtClean="0">
            <a:ln>
              <a:noFill/>
            </a:ln>
            <a:solidFill>
              <a:schemeClr val="bg1"/>
            </a:solidFill>
            <a:effectLst/>
            <a:latin typeface="+mj-lt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1270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Palatino Linotype" pitchFamily="18" charset="0"/>
          </a:defRPr>
        </a:defPPr>
      </a:lstStyle>
    </a:lnDef>
  </a:objectDefaults>
  <a:extraClrSchemeLst>
    <a:extraClrScheme>
      <a:clrScheme name="NCI Powerpoint 1">
        <a:dk1>
          <a:srgbClr val="000000"/>
        </a:dk1>
        <a:lt1>
          <a:srgbClr val="FFFFFF"/>
        </a:lt1>
        <a:dk2>
          <a:srgbClr val="6F6754"/>
        </a:dk2>
        <a:lt2>
          <a:srgbClr val="D8D6D2"/>
        </a:lt2>
        <a:accent1>
          <a:srgbClr val="B88740"/>
        </a:accent1>
        <a:accent2>
          <a:srgbClr val="3F4A13"/>
        </a:accent2>
        <a:accent3>
          <a:srgbClr val="FFFFFF"/>
        </a:accent3>
        <a:accent4>
          <a:srgbClr val="000000"/>
        </a:accent4>
        <a:accent5>
          <a:srgbClr val="D8C3AF"/>
        </a:accent5>
        <a:accent6>
          <a:srgbClr val="384210"/>
        </a:accent6>
        <a:hlink>
          <a:srgbClr val="093678"/>
        </a:hlink>
        <a:folHlink>
          <a:srgbClr val="A15F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CI Powerpoint 2">
        <a:dk1>
          <a:srgbClr val="000000"/>
        </a:dk1>
        <a:lt1>
          <a:srgbClr val="FFFFFF"/>
        </a:lt1>
        <a:dk2>
          <a:srgbClr val="6F6754"/>
        </a:dk2>
        <a:lt2>
          <a:srgbClr val="D8D6D2"/>
        </a:lt2>
        <a:accent1>
          <a:srgbClr val="AB6240"/>
        </a:accent1>
        <a:accent2>
          <a:srgbClr val="3F4A13"/>
        </a:accent2>
        <a:accent3>
          <a:srgbClr val="FFFFFF"/>
        </a:accent3>
        <a:accent4>
          <a:srgbClr val="000000"/>
        </a:accent4>
        <a:accent5>
          <a:srgbClr val="D2B7AF"/>
        </a:accent5>
        <a:accent6>
          <a:srgbClr val="384210"/>
        </a:accent6>
        <a:hlink>
          <a:srgbClr val="093678"/>
        </a:hlink>
        <a:folHlink>
          <a:srgbClr val="8F2E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CI Powerpoint 3">
        <a:dk1>
          <a:srgbClr val="000000"/>
        </a:dk1>
        <a:lt1>
          <a:srgbClr val="FFFFFF"/>
        </a:lt1>
        <a:dk2>
          <a:srgbClr val="6F6754"/>
        </a:dk2>
        <a:lt2>
          <a:srgbClr val="D8D6D2"/>
        </a:lt2>
        <a:accent1>
          <a:srgbClr val="855576"/>
        </a:accent1>
        <a:accent2>
          <a:srgbClr val="3F4A13"/>
        </a:accent2>
        <a:accent3>
          <a:srgbClr val="FFFFFF"/>
        </a:accent3>
        <a:accent4>
          <a:srgbClr val="000000"/>
        </a:accent4>
        <a:accent5>
          <a:srgbClr val="C2B4BD"/>
        </a:accent5>
        <a:accent6>
          <a:srgbClr val="384210"/>
        </a:accent6>
        <a:hlink>
          <a:srgbClr val="A15F00"/>
        </a:hlink>
        <a:folHlink>
          <a:srgbClr val="5C1C4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CI Powerpoint 4">
        <a:dk1>
          <a:srgbClr val="000000"/>
        </a:dk1>
        <a:lt1>
          <a:srgbClr val="FFFFFF"/>
        </a:lt1>
        <a:dk2>
          <a:srgbClr val="6F6754"/>
        </a:dk2>
        <a:lt2>
          <a:srgbClr val="D8D6D2"/>
        </a:lt2>
        <a:accent1>
          <a:srgbClr val="46689A"/>
        </a:accent1>
        <a:accent2>
          <a:srgbClr val="5C2801"/>
        </a:accent2>
        <a:accent3>
          <a:srgbClr val="FFFFFF"/>
        </a:accent3>
        <a:accent4>
          <a:srgbClr val="000000"/>
        </a:accent4>
        <a:accent5>
          <a:srgbClr val="B0B9CA"/>
        </a:accent5>
        <a:accent6>
          <a:srgbClr val="532301"/>
        </a:accent6>
        <a:hlink>
          <a:srgbClr val="17524E"/>
        </a:hlink>
        <a:folHlink>
          <a:srgbClr val="09367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CI Powerpoint 5">
        <a:dk1>
          <a:srgbClr val="000000"/>
        </a:dk1>
        <a:lt1>
          <a:srgbClr val="FFFFFF"/>
        </a:lt1>
        <a:dk2>
          <a:srgbClr val="6F6754"/>
        </a:dk2>
        <a:lt2>
          <a:srgbClr val="D8D6D2"/>
        </a:lt2>
        <a:accent1>
          <a:srgbClr val="517D7A"/>
        </a:accent1>
        <a:accent2>
          <a:srgbClr val="A15F00"/>
        </a:accent2>
        <a:accent3>
          <a:srgbClr val="FFFFFF"/>
        </a:accent3>
        <a:accent4>
          <a:srgbClr val="000000"/>
        </a:accent4>
        <a:accent5>
          <a:srgbClr val="B3BFBE"/>
        </a:accent5>
        <a:accent6>
          <a:srgbClr val="915500"/>
        </a:accent6>
        <a:hlink>
          <a:srgbClr val="5C1C49"/>
        </a:hlink>
        <a:folHlink>
          <a:srgbClr val="17524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CI Powerpoint 6">
        <a:dk1>
          <a:srgbClr val="000000"/>
        </a:dk1>
        <a:lt1>
          <a:srgbClr val="FFFFFF"/>
        </a:lt1>
        <a:dk2>
          <a:srgbClr val="6F6754"/>
        </a:dk2>
        <a:lt2>
          <a:srgbClr val="D8D6D2"/>
        </a:lt2>
        <a:accent1>
          <a:srgbClr val="6F774E"/>
        </a:accent1>
        <a:accent2>
          <a:srgbClr val="093678"/>
        </a:accent2>
        <a:accent3>
          <a:srgbClr val="FFFFFF"/>
        </a:accent3>
        <a:accent4>
          <a:srgbClr val="000000"/>
        </a:accent4>
        <a:accent5>
          <a:srgbClr val="BBBDB2"/>
        </a:accent5>
        <a:accent6>
          <a:srgbClr val="07306C"/>
        </a:accent6>
        <a:hlink>
          <a:srgbClr val="8F2E00"/>
        </a:hlink>
        <a:folHlink>
          <a:srgbClr val="3F4A1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CI Powerpoint 7">
        <a:dk1>
          <a:srgbClr val="000000"/>
        </a:dk1>
        <a:lt1>
          <a:srgbClr val="FFFFFF"/>
        </a:lt1>
        <a:dk2>
          <a:srgbClr val="6F6754"/>
        </a:dk2>
        <a:lt2>
          <a:srgbClr val="D8D6D2"/>
        </a:lt2>
        <a:accent1>
          <a:srgbClr val="855E40"/>
        </a:accent1>
        <a:accent2>
          <a:srgbClr val="17524E"/>
        </a:accent2>
        <a:accent3>
          <a:srgbClr val="FFFFFF"/>
        </a:accent3>
        <a:accent4>
          <a:srgbClr val="000000"/>
        </a:accent4>
        <a:accent5>
          <a:srgbClr val="C2B6AF"/>
        </a:accent5>
        <a:accent6>
          <a:srgbClr val="144946"/>
        </a:accent6>
        <a:hlink>
          <a:srgbClr val="8F2E00"/>
        </a:hlink>
        <a:folHlink>
          <a:srgbClr val="5C280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CORP_BrandRefreshNavigantTemplate4x3_PPT_FINAL.potx" id="{D18732E3-5FC8-4543-9315-A259989668F0}" vid="{E2EC561C-9127-47EA-9B2A-1ACA8630C48B}"/>
    </a:ext>
  </a:extLst>
</a:theme>
</file>

<file path=ppt/theme/theme8.xml><?xml version="1.0" encoding="utf-8"?>
<a:theme xmlns:a="http://schemas.openxmlformats.org/drawingml/2006/main" name="7_Navigant_Gray">
  <a:themeElements>
    <a:clrScheme name="Navigant">
      <a:dk1>
        <a:srgbClr val="555759"/>
      </a:dk1>
      <a:lt1>
        <a:srgbClr val="FFFFFF"/>
      </a:lt1>
      <a:dk2>
        <a:srgbClr val="555759"/>
      </a:dk2>
      <a:lt2>
        <a:srgbClr val="FFFFFF"/>
      </a:lt2>
      <a:accent1>
        <a:srgbClr val="648C1A"/>
      </a:accent1>
      <a:accent2>
        <a:srgbClr val="95D600"/>
      </a:accent2>
      <a:accent3>
        <a:srgbClr val="FFB718"/>
      </a:accent3>
      <a:accent4>
        <a:srgbClr val="E53C2E"/>
      </a:accent4>
      <a:accent5>
        <a:srgbClr val="8B189B"/>
      </a:accent5>
      <a:accent6>
        <a:srgbClr val="0093C9"/>
      </a:accent6>
      <a:hlink>
        <a:srgbClr val="648C1A"/>
      </a:hlink>
      <a:folHlink>
        <a:srgbClr val="95D600"/>
      </a:folHlink>
    </a:clrScheme>
    <a:fontScheme name="Oliver Wyman">
      <a:majorFont>
        <a:latin typeface="Arial"/>
        <a:ea typeface=""/>
        <a:cs typeface=""/>
        <a:font script="Jpan" typeface="Meiryo"/>
        <a:font script="Hang" typeface="맑은 고딕"/>
        <a:font script="Hans" typeface="STKaiti"/>
        <a:font script="Hant" typeface="STKaiti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Arial"/>
        <a:ea typeface=""/>
        <a:cs typeface=""/>
        <a:font script="Jpan" typeface="Meiryo"/>
        <a:font script="Hang" typeface="맑은 고딕"/>
        <a:font script="Hans" typeface="STKaiti"/>
        <a:font script="Hant" typeface="STKaiti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liver Wyman">
      <a:fillStyleLst>
        <a:solidFill>
          <a:schemeClr val="phClr"/>
        </a:solidFill>
        <a:solidFill>
          <a:schemeClr val="phClr">
            <a:tint val="0"/>
          </a:schemeClr>
        </a:solidFill>
        <a:solidFill>
          <a:schemeClr val="phClr"/>
        </a:solidFill>
      </a:fillStyleLst>
      <a:lnStyleLst>
        <a:ln w="9525" cap="flat" cmpd="sng" algn="ctr">
          <a:solidFill>
            <a:schemeClr val="phClr">
              <a:satMod val="105000"/>
            </a:schemeClr>
          </a:solidFill>
          <a:prstDash val="solid"/>
        </a:ln>
        <a:ln w="9525" cap="flat" cmpd="sng" algn="ctr">
          <a:solidFill>
            <a:schemeClr val="phClr"/>
          </a:solidFill>
          <a:prstDash val="solid"/>
        </a:ln>
        <a:ln w="9525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reflection blurRad="12700" stA="26000" endPos="28000" dist="38100" dir="5400000" sy="-100000" rotWithShape="0"/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</a:schemeClr>
        </a:solidFill>
        <a:gradFill rotWithShape="1">
          <a:gsLst>
            <a:gs pos="0">
              <a:schemeClr val="phClr">
                <a:tint val="100000"/>
                <a:shade val="60000"/>
                <a:satMod val="300000"/>
              </a:schemeClr>
            </a:gs>
            <a:gs pos="30000">
              <a:schemeClr val="phClr">
                <a:shade val="80000"/>
                <a:satMod val="230000"/>
              </a:schemeClr>
            </a:gs>
            <a:gs pos="100000">
              <a:schemeClr val="phClr">
                <a:tint val="97000"/>
                <a:shade val="100000"/>
                <a:satMod val="220000"/>
              </a:schemeClr>
            </a:gs>
          </a:gsLst>
          <a:lin ang="16200000" scaled="0"/>
        </a:gradFill>
      </a:bgFillStyleLst>
    </a:fmtScheme>
  </a:themeElements>
  <a:objectDefaults>
    <a:spDef>
      <a:spPr>
        <a:solidFill>
          <a:schemeClr val="bg1"/>
        </a:solidFill>
        <a:ln w="9525">
          <a:solidFill>
            <a:schemeClr val="tx1"/>
          </a:solidFill>
        </a:ln>
      </a:spPr>
      <a:bodyPr lIns="73152" tIns="73152" rIns="73152" bIns="73152" rtlCol="0" anchor="ctr">
        <a:noAutofit/>
      </a:bodyPr>
      <a:lstStyle>
        <a:defPPr algn="ctr">
          <a:lnSpc>
            <a:spcPct val="100000"/>
          </a:lnSpc>
          <a:defRPr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lnSpc>
            <a:spcPct val="100000"/>
          </a:lnSpc>
          <a:defRPr dirty="0" err="1" smtClean="0"/>
        </a:defPPr>
      </a:lstStyle>
    </a:txDef>
  </a:objectDefaults>
  <a:extraClrSchemeLst/>
  <a:custClrLst>
    <a:custClr name="OW Emerald">
      <a:srgbClr val="41A441"/>
    </a:custClr>
    <a:custClr name="Light Emerald">
      <a:srgbClr val="BDDDA3"/>
    </a:custClr>
    <a:custClr name="OW Iolite">
      <a:srgbClr val="646EAC"/>
    </a:custClr>
    <a:custClr name="Light Iolite">
      <a:srgbClr val="C5CAE7"/>
    </a:custClr>
    <a:custClr name="OW Citrine">
      <a:srgbClr val="DD712C"/>
    </a:custClr>
    <a:custClr name="Light Citrine">
      <a:srgbClr val="FDCFAC"/>
    </a:custClr>
    <a:custClr name="OW Turquoise">
      <a:srgbClr val="079B84"/>
    </a:custClr>
    <a:custClr name="Light Turquoise">
      <a:srgbClr val="A8DAC9"/>
    </a:custClr>
    <a:custClr name="OW Ruby">
      <a:srgbClr val="CB225B"/>
    </a:custClr>
    <a:custClr name="Light Ruby">
      <a:srgbClr val="F8B8BC"/>
    </a:custClr>
    <a:custClr name="Pure Red">
      <a:srgbClr val="FF0000"/>
    </a:custClr>
    <a:custClr name="Bright Onyx">
      <a:srgbClr val="808080"/>
    </a:custClr>
    <a:custClr name="Table Onyx">
      <a:srgbClr val="E8E8E8"/>
    </a:custClr>
    <a:custClr name="Medium Sapphire">
      <a:srgbClr val="016D9F"/>
    </a:custClr>
    <a:custClr name="Bright Sapphire">
      <a:srgbClr val="00A8C8"/>
    </a:custClr>
    <a:custClr name="Pale Sapphire">
      <a:srgbClr val="E1FAFF"/>
    </a:custClr>
    <a:custClr name="Dark Topaz">
      <a:srgbClr val="8E5501"/>
    </a:custClr>
    <a:custClr name="Pale Topaz">
      <a:srgbClr val="FFEED5"/>
    </a:custClr>
    <a:custClr name="Dark Emerald">
      <a:srgbClr val="00582D"/>
    </a:custClr>
    <a:custClr name="Pale Emerald">
      <a:srgbClr val="E2EDC3"/>
    </a:custClr>
  </a:custClrLst>
  <a:extLst>
    <a:ext uri="{05A4C25C-085E-4340-85A3-A5531E510DB2}">
      <thm15:themeFamily xmlns:thm15="http://schemas.microsoft.com/office/thememl/2012/main" name="Navigant template" id="{A43CD75E-9E68-4CD0-959B-6AC5A5067945}" vid="{159CC80E-3ACF-41DC-A678-815DB1EF3FE0}"/>
    </a:ext>
  </a:extLst>
</a:theme>
</file>

<file path=ppt/theme/theme9.xml><?xml version="1.0" encoding="utf-8"?>
<a:theme xmlns:a="http://schemas.openxmlformats.org/drawingml/2006/main" name="8_Navigant_Gray">
  <a:themeElements>
    <a:clrScheme name="Navigant">
      <a:dk1>
        <a:srgbClr val="555759"/>
      </a:dk1>
      <a:lt1>
        <a:srgbClr val="FFFFFF"/>
      </a:lt1>
      <a:dk2>
        <a:srgbClr val="555759"/>
      </a:dk2>
      <a:lt2>
        <a:srgbClr val="FFFFFF"/>
      </a:lt2>
      <a:accent1>
        <a:srgbClr val="648C1A"/>
      </a:accent1>
      <a:accent2>
        <a:srgbClr val="95D600"/>
      </a:accent2>
      <a:accent3>
        <a:srgbClr val="FFB718"/>
      </a:accent3>
      <a:accent4>
        <a:srgbClr val="E53C2E"/>
      </a:accent4>
      <a:accent5>
        <a:srgbClr val="8B189B"/>
      </a:accent5>
      <a:accent6>
        <a:srgbClr val="0093C9"/>
      </a:accent6>
      <a:hlink>
        <a:srgbClr val="648C1A"/>
      </a:hlink>
      <a:folHlink>
        <a:srgbClr val="95D600"/>
      </a:folHlink>
    </a:clrScheme>
    <a:fontScheme name="Oliver Wyman">
      <a:majorFont>
        <a:latin typeface="Arial"/>
        <a:ea typeface=""/>
        <a:cs typeface=""/>
        <a:font script="Jpan" typeface="Meiryo"/>
        <a:font script="Hang" typeface="맑은 고딕"/>
        <a:font script="Hans" typeface="STKaiti"/>
        <a:font script="Hant" typeface="STKaiti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Arial"/>
        <a:ea typeface=""/>
        <a:cs typeface=""/>
        <a:font script="Jpan" typeface="Meiryo"/>
        <a:font script="Hang" typeface="맑은 고딕"/>
        <a:font script="Hans" typeface="STKaiti"/>
        <a:font script="Hant" typeface="STKaiti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liver Wyman">
      <a:fillStyleLst>
        <a:solidFill>
          <a:schemeClr val="phClr"/>
        </a:solidFill>
        <a:solidFill>
          <a:schemeClr val="phClr">
            <a:tint val="0"/>
          </a:schemeClr>
        </a:solidFill>
        <a:solidFill>
          <a:schemeClr val="phClr"/>
        </a:solidFill>
      </a:fillStyleLst>
      <a:lnStyleLst>
        <a:ln w="9525" cap="flat" cmpd="sng" algn="ctr">
          <a:solidFill>
            <a:schemeClr val="phClr">
              <a:satMod val="105000"/>
            </a:schemeClr>
          </a:solidFill>
          <a:prstDash val="solid"/>
        </a:ln>
        <a:ln w="9525" cap="flat" cmpd="sng" algn="ctr">
          <a:solidFill>
            <a:schemeClr val="phClr"/>
          </a:solidFill>
          <a:prstDash val="solid"/>
        </a:ln>
        <a:ln w="9525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reflection blurRad="12700" stA="26000" endPos="28000" dist="38100" dir="5400000" sy="-100000" rotWithShape="0"/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</a:schemeClr>
        </a:solidFill>
        <a:gradFill rotWithShape="1">
          <a:gsLst>
            <a:gs pos="0">
              <a:schemeClr val="phClr">
                <a:tint val="100000"/>
                <a:shade val="60000"/>
                <a:satMod val="300000"/>
              </a:schemeClr>
            </a:gs>
            <a:gs pos="30000">
              <a:schemeClr val="phClr">
                <a:shade val="80000"/>
                <a:satMod val="230000"/>
              </a:schemeClr>
            </a:gs>
            <a:gs pos="100000">
              <a:schemeClr val="phClr">
                <a:tint val="97000"/>
                <a:shade val="100000"/>
                <a:satMod val="220000"/>
              </a:schemeClr>
            </a:gs>
          </a:gsLst>
          <a:lin ang="16200000" scaled="0"/>
        </a:gradFill>
      </a:bgFillStyleLst>
    </a:fmtScheme>
  </a:themeElements>
  <a:objectDefaults>
    <a:spDef>
      <a:spPr>
        <a:solidFill>
          <a:schemeClr val="bg1"/>
        </a:solidFill>
        <a:ln w="9525">
          <a:solidFill>
            <a:schemeClr val="tx1"/>
          </a:solidFill>
        </a:ln>
      </a:spPr>
      <a:bodyPr lIns="73152" tIns="73152" rIns="73152" bIns="73152" rtlCol="0" anchor="ctr">
        <a:noAutofit/>
      </a:bodyPr>
      <a:lstStyle>
        <a:defPPr algn="ctr">
          <a:lnSpc>
            <a:spcPct val="100000"/>
          </a:lnSpc>
          <a:defRPr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lnSpc>
            <a:spcPct val="100000"/>
          </a:lnSpc>
          <a:defRPr dirty="0" err="1" smtClean="0"/>
        </a:defPPr>
      </a:lstStyle>
    </a:txDef>
  </a:objectDefaults>
  <a:extraClrSchemeLst/>
  <a:custClrLst>
    <a:custClr name="OW Emerald">
      <a:srgbClr val="41A441"/>
    </a:custClr>
    <a:custClr name="Light Emerald">
      <a:srgbClr val="BDDDA3"/>
    </a:custClr>
    <a:custClr name="OW Iolite">
      <a:srgbClr val="646EAC"/>
    </a:custClr>
    <a:custClr name="Light Iolite">
      <a:srgbClr val="C5CAE7"/>
    </a:custClr>
    <a:custClr name="OW Citrine">
      <a:srgbClr val="DD712C"/>
    </a:custClr>
    <a:custClr name="Light Citrine">
      <a:srgbClr val="FDCFAC"/>
    </a:custClr>
    <a:custClr name="OW Turquoise">
      <a:srgbClr val="079B84"/>
    </a:custClr>
    <a:custClr name="Light Turquoise">
      <a:srgbClr val="A8DAC9"/>
    </a:custClr>
    <a:custClr name="OW Ruby">
      <a:srgbClr val="CB225B"/>
    </a:custClr>
    <a:custClr name="Light Ruby">
      <a:srgbClr val="F8B8BC"/>
    </a:custClr>
    <a:custClr name="Pure Red">
      <a:srgbClr val="FF0000"/>
    </a:custClr>
    <a:custClr name="Bright Onyx">
      <a:srgbClr val="808080"/>
    </a:custClr>
    <a:custClr name="Table Onyx">
      <a:srgbClr val="E8E8E8"/>
    </a:custClr>
    <a:custClr name="Medium Sapphire">
      <a:srgbClr val="016D9F"/>
    </a:custClr>
    <a:custClr name="Bright Sapphire">
      <a:srgbClr val="00A8C8"/>
    </a:custClr>
    <a:custClr name="Pale Sapphire">
      <a:srgbClr val="E1FAFF"/>
    </a:custClr>
    <a:custClr name="Dark Topaz">
      <a:srgbClr val="8E5501"/>
    </a:custClr>
    <a:custClr name="Pale Topaz">
      <a:srgbClr val="FFEED5"/>
    </a:custClr>
    <a:custClr name="Dark Emerald">
      <a:srgbClr val="00582D"/>
    </a:custClr>
    <a:custClr name="Pale Emerald">
      <a:srgbClr val="E2EDC3"/>
    </a:custClr>
  </a:custClrLst>
  <a:extLst>
    <a:ext uri="{05A4C25C-085E-4340-85A3-A5531E510DB2}">
      <thm15:themeFamily xmlns:thm15="http://schemas.microsoft.com/office/thememl/2012/main" name="Navigant template" id="{A43CD75E-9E68-4CD0-959B-6AC5A5067945}" vid="{159CC80E-3ACF-41DC-A678-815DB1EF3FE0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EcofysConfidential xmlns="8d9b4ab4-65b9-4a08-baeb-312269dd31de">false</EcofysConfidential>
    <ProjectDocumentDescription xmlns="8d9b4ab4-65b9-4a08-baeb-312269dd31de" xsi:nil="true"/>
    <Subcategory xmlns="8d9b4ab4-65b9-4a08-baeb-312269dd31de" xsi:nil="true"/>
    <ProjectDocumentCategory xmlns="8d9b4ab4-65b9-4a08-baeb-312269dd31de">No Category</ProjectDocumentCategory>
    <Country xmlns="8d9b4ab4-65b9-4a08-baeb-312269dd31de" xsi:nil="true"/>
    <Year xmlns="8d9b4ab4-65b9-4a08-baeb-312269dd31de" xsi:nil="true"/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Ecofys Project Document" ma:contentTypeID="0x01010041C754EF69CC447396707CDFA155F78400BC181712BA935642AACDCDFA754D68E5" ma:contentTypeVersion="15" ma:contentTypeDescription="Create a new document." ma:contentTypeScope="" ma:versionID="f948ac67e752e5b7ce6f9e443303a785">
  <xsd:schema xmlns:xsd="http://www.w3.org/2001/XMLSchema" xmlns:xs="http://www.w3.org/2001/XMLSchema" xmlns:p="http://schemas.microsoft.com/office/2006/metadata/properties" xmlns:ns2="8d9b4ab4-65b9-4a08-baeb-312269dd31de" xmlns:ns3="d1a9d701-4f4a-43a3-88a5-5d202ecff1c2" targetNamespace="http://schemas.microsoft.com/office/2006/metadata/properties" ma:root="true" ma:fieldsID="125bad52f1e60193bb16a6356399dc79" ns2:_="" ns3:_="">
    <xsd:import namespace="8d9b4ab4-65b9-4a08-baeb-312269dd31de"/>
    <xsd:import namespace="d1a9d701-4f4a-43a3-88a5-5d202ecff1c2"/>
    <xsd:element name="properties">
      <xsd:complexType>
        <xsd:sequence>
          <xsd:element name="documentManagement">
            <xsd:complexType>
              <xsd:all>
                <xsd:element ref="ns2:ProjectDocumentDescription" minOccurs="0"/>
                <xsd:element ref="ns2:ProjectDocumentCategory"/>
                <xsd:element ref="ns2:Year" minOccurs="0"/>
                <xsd:element ref="ns2:Country" minOccurs="0"/>
                <xsd:element ref="ns2:Subcategory" minOccurs="0"/>
                <xsd:element ref="ns2:EcofysConfidential" minOccurs="0"/>
                <xsd:element ref="ns3:MediaServiceMetadata" minOccurs="0"/>
                <xsd:element ref="ns3:MediaServiceFastMetadata" minOccurs="0"/>
                <xsd:element ref="ns3:MediaServiceDateTaken" minOccurs="0"/>
                <xsd:element ref="ns3:MediaServiceAutoTags" minOccurs="0"/>
                <xsd:element ref="ns3:MediaServiceGenerationTime" minOccurs="0"/>
                <xsd:element ref="ns3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d9b4ab4-65b9-4a08-baeb-312269dd31de" elementFormDefault="qualified">
    <xsd:import namespace="http://schemas.microsoft.com/office/2006/documentManagement/types"/>
    <xsd:import namespace="http://schemas.microsoft.com/office/infopath/2007/PartnerControls"/>
    <xsd:element name="ProjectDocumentDescription" ma:index="8" nillable="true" ma:displayName="Document Description" ma:internalName="ProjectDocumentDescription">
      <xsd:simpleType>
        <xsd:restriction base="dms:Note">
          <xsd:maxLength value="255"/>
        </xsd:restriction>
      </xsd:simpleType>
    </xsd:element>
    <xsd:element name="ProjectDocumentCategory" ma:index="9" ma:displayName="Document Category" ma:default="No Category" ma:internalName="ProjectDocumentCategory" ma:readOnly="false">
      <xsd:simpleType>
        <xsd:restriction base="dms:Choice">
          <xsd:enumeration value="Proposal"/>
          <xsd:enumeration value="QCL"/>
          <xsd:enumeration value="Budget"/>
          <xsd:enumeration value="Contract"/>
          <xsd:enumeration value="Communication"/>
          <xsd:enumeration value="Minutes"/>
          <xsd:enumeration value="Data"/>
          <xsd:enumeration value="Report"/>
          <xsd:enumeration value="Background information"/>
          <xsd:enumeration value="Invoice"/>
          <xsd:enumeration value="Planning and control"/>
          <xsd:enumeration value="Presentation"/>
          <xsd:enumeration value="Image"/>
          <xsd:enumeration value="Sub-contract"/>
          <xsd:enumeration value="Drawing"/>
          <xsd:enumeration value="Analysis"/>
          <xsd:enumeration value="CV"/>
          <xsd:enumeration value="No Category"/>
          <xsd:enumeration value="Tender document"/>
          <xsd:enumeration value="Travel"/>
        </xsd:restriction>
      </xsd:simpleType>
    </xsd:element>
    <xsd:element name="Year" ma:index="10" nillable="true" ma:displayName="Year" ma:default="" ma:internalName="Year">
      <xsd:simpleType>
        <xsd:restriction base="dms:Choice">
          <xsd:enumeration value="2000"/>
          <xsd:enumeration value="2001"/>
          <xsd:enumeration value="2002"/>
          <xsd:enumeration value="2003"/>
          <xsd:enumeration value="2004"/>
          <xsd:enumeration value="2005"/>
          <xsd:enumeration value="2006"/>
          <xsd:enumeration value="2007"/>
          <xsd:enumeration value="2008"/>
          <xsd:enumeration value="2009"/>
          <xsd:enumeration value="2010"/>
          <xsd:enumeration value="2011"/>
          <xsd:enumeration value="2012"/>
          <xsd:enumeration value="2013"/>
          <xsd:enumeration value="2014"/>
          <xsd:enumeration value="2015"/>
          <xsd:enumeration value="2016"/>
          <xsd:enumeration value="2017"/>
          <xsd:enumeration value="2018"/>
          <xsd:enumeration value="2019"/>
          <xsd:enumeration value="2020"/>
          <xsd:enumeration value="2021"/>
          <xsd:enumeration value="2022"/>
          <xsd:enumeration value="2023"/>
          <xsd:enumeration value="2024"/>
          <xsd:enumeration value="2025"/>
        </xsd:restriction>
      </xsd:simpleType>
    </xsd:element>
    <xsd:element name="Country" ma:index="11" nillable="true" ma:displayName="Country" ma:default="" ma:internalName="Country">
      <xsd:simpleType>
        <xsd:restriction base="dms:Choice">
          <xsd:enumeration value=".Africa (region)"/>
          <xsd:enumeration value=".APEC countries (region)"/>
          <xsd:enumeration value=".Asia (region)"/>
          <xsd:enumeration value=".EU (region)"/>
          <xsd:enumeration value=".Euromed (region)"/>
          <xsd:enumeration value=".Global/World (region)"/>
          <xsd:enumeration value=".Latin America (region)"/>
          <xsd:enumeration value=".MENA (region)"/>
          <xsd:enumeration value=".OHADA (region)"/>
          <xsd:enumeration value=".OPEC countries (region)"/>
          <xsd:enumeration value="Albania"/>
          <xsd:enumeration value="Algeria"/>
          <xsd:enumeration value="Angola"/>
          <xsd:enumeration value="Antigua and Barbuda"/>
          <xsd:enumeration value="Argentina"/>
          <xsd:enumeration value="Australia"/>
          <xsd:enumeration value="Austria"/>
          <xsd:enumeration value="Bahrain"/>
          <xsd:enumeration value="Barbados"/>
          <xsd:enumeration value="Belgium"/>
          <xsd:enumeration value="Belize"/>
          <xsd:enumeration value="Benelux"/>
          <xsd:enumeration value="Benin"/>
          <xsd:enumeration value="Benin"/>
          <xsd:enumeration value="Bolivia"/>
          <xsd:enumeration value="Bonaire"/>
          <xsd:enumeration value="Botswana"/>
          <xsd:enumeration value="Brazil"/>
          <xsd:enumeration value="Brunei"/>
          <xsd:enumeration value="Bulgaria"/>
          <xsd:enumeration value="Burkina Faso"/>
          <xsd:enumeration value="Burkina Faso"/>
          <xsd:enumeration value="Burundi"/>
          <xsd:enumeration value="Cameroon"/>
          <xsd:enumeration value="Canada"/>
          <xsd:enumeration value="Cape Verde"/>
          <xsd:enumeration value="Central African Republic"/>
          <xsd:enumeration value="Chad"/>
          <xsd:enumeration value="Chile"/>
          <xsd:enumeration value="Chinese Taipei"/>
          <xsd:enumeration value="Colombia"/>
          <xsd:enumeration value="Comoros"/>
          <xsd:enumeration value="Congo"/>
          <xsd:enumeration value="Costa Rica"/>
          <xsd:enumeration value="Cote d'Ivoire"/>
          <xsd:enumeration value="Cyprus"/>
          <xsd:enumeration value="Czech Republic"/>
          <xsd:enumeration value="Dem. Rep. Congo (Zaire)"/>
          <xsd:enumeration value="Denmark"/>
          <xsd:enumeration value="Djibouti"/>
          <xsd:enumeration value="Dominica"/>
          <xsd:enumeration value="Dominican Republic"/>
          <xsd:enumeration value="Ecuador"/>
          <xsd:enumeration value="Egypt"/>
          <xsd:enumeration value="El Salvador"/>
          <xsd:enumeration value="Equatorial Guinea"/>
          <xsd:enumeration value="Estonia"/>
          <xsd:enumeration value="Ethiopia"/>
          <xsd:enumeration value="Europe"/>
          <xsd:enumeration value="Finland"/>
          <xsd:enumeration value="France"/>
          <xsd:enumeration value="Gabon"/>
          <xsd:enumeration value="Gambia"/>
          <xsd:enumeration value="Germany"/>
          <xsd:enumeration value="Ghana"/>
          <xsd:enumeration value="Greece"/>
          <xsd:enumeration value="Grenada"/>
          <xsd:enumeration value="Guatemala"/>
          <xsd:enumeration value="Guinea"/>
          <xsd:enumeration value="Guinea Bissau"/>
          <xsd:enumeration value="Guyana"/>
          <xsd:enumeration value="Haiti"/>
          <xsd:enumeration value="Honduras"/>
          <xsd:enumeration value="Hong Kong, China"/>
          <xsd:enumeration value="Hungary"/>
          <xsd:enumeration value="Iceland"/>
          <xsd:enumeration value="India"/>
          <xsd:enumeration value="Indonesia"/>
          <xsd:enumeration value="Iran"/>
          <xsd:enumeration value="Iraq"/>
          <xsd:enumeration value="Ireland"/>
          <xsd:enumeration value="Israel"/>
          <xsd:enumeration value="Italy"/>
          <xsd:enumeration value="Ivory Coast"/>
          <xsd:enumeration value="Jamaica"/>
          <xsd:enumeration value="Japan"/>
          <xsd:enumeration value="Jordan"/>
          <xsd:enumeration value="Kazakhstan"/>
          <xsd:enumeration value="Kenya"/>
          <xsd:enumeration value="Korea, North"/>
          <xsd:enumeration value="Korea, South"/>
          <xsd:enumeration value="Kuwait"/>
          <xsd:enumeration value="Kyrgyzstan"/>
          <xsd:enumeration value="Latvia"/>
          <xsd:enumeration value="Lebanon"/>
          <xsd:enumeration value="Lesotho"/>
          <xsd:enumeration value="Liberia"/>
          <xsd:enumeration value="Libya"/>
          <xsd:enumeration value="Lithuania"/>
          <xsd:enumeration value="Luxembourg"/>
          <xsd:enumeration value="Madagascar"/>
          <xsd:enumeration value="Malawi"/>
          <xsd:enumeration value="Malaysia"/>
          <xsd:enumeration value="Maldives"/>
          <xsd:enumeration value="Mali"/>
          <xsd:enumeration value="Malta"/>
          <xsd:enumeration value="Mauritania"/>
          <xsd:enumeration value="Mauritius"/>
          <xsd:enumeration value="Mexico"/>
          <xsd:enumeration value="Moldova"/>
          <xsd:enumeration value="Mongolia"/>
          <xsd:enumeration value="Morocco"/>
          <xsd:enumeration value="Mozambique"/>
          <xsd:enumeration value="Myanmar"/>
          <xsd:enumeration value="Namibia"/>
          <xsd:enumeration value="Nepal"/>
          <xsd:enumeration value="New Zealand"/>
          <xsd:enumeration value="Nicaragua"/>
          <xsd:enumeration value="Niger"/>
          <xsd:enumeration value="Nigeria"/>
          <xsd:enumeration value="Oman"/>
          <xsd:enumeration value="Pakistan"/>
          <xsd:enumeration value="Palestinian territories"/>
          <xsd:enumeration value="Panama"/>
          <xsd:enumeration value="Papua New Guinea"/>
          <xsd:enumeration value="Paraguay"/>
          <xsd:enumeration value="People's Republic of China"/>
          <xsd:enumeration value="Peru"/>
          <xsd:enumeration value="Peru"/>
          <xsd:enumeration value="Philippines"/>
          <xsd:enumeration value="Poland"/>
          <xsd:enumeration value="Portugal"/>
          <xsd:enumeration value="Qatar"/>
          <xsd:enumeration value="Reunion"/>
          <xsd:enumeration value="Romania"/>
          <xsd:enumeration value="Russia"/>
          <xsd:enumeration value="Rwanda"/>
          <xsd:enumeration value="Saint Kitts and Nevis"/>
          <xsd:enumeration value="Saint Lucia"/>
          <xsd:enumeration value="Saint Vincent and the Grenadines"/>
          <xsd:enumeration value="São Tomé and Principe"/>
          <xsd:enumeration value="Saudi Arabia"/>
          <xsd:enumeration value="Senegal"/>
          <xsd:enumeration value="Seychelles"/>
          <xsd:enumeration value="Sierra Leone"/>
          <xsd:enumeration value="Singapore"/>
          <xsd:enumeration value="Singapore"/>
          <xsd:enumeration value="Slovakia"/>
          <xsd:enumeration value="Slovenia"/>
          <xsd:enumeration value="Somalia"/>
          <xsd:enumeration value="South Africa"/>
          <xsd:enumeration value="Spain"/>
          <xsd:enumeration value="Sri Lanka"/>
          <xsd:enumeration value="Sudan"/>
          <xsd:enumeration value="Suriname"/>
          <xsd:enumeration value="Swaziland"/>
          <xsd:enumeration value="Sweden"/>
          <xsd:enumeration value="Switzerland"/>
          <xsd:enumeration value="Syria"/>
          <xsd:enumeration value="Taiwan"/>
          <xsd:enumeration value="Tajikistan"/>
          <xsd:enumeration value="Tanzania"/>
          <xsd:enumeration value="Thailand"/>
          <xsd:enumeration value="The Bahamas"/>
          <xsd:enumeration value="The Netherlands"/>
          <xsd:enumeration value="Togo"/>
          <xsd:enumeration value="Trinidad and Tobago"/>
          <xsd:enumeration value="Tunisia"/>
          <xsd:enumeration value="Turkey"/>
          <xsd:enumeration value="Turkmenistan"/>
          <xsd:enumeration value="Uganda"/>
          <xsd:enumeration value="Ukraine"/>
          <xsd:enumeration value="United Arab Emirates"/>
          <xsd:enumeration value="United Kingdom"/>
          <xsd:enumeration value="United States"/>
          <xsd:enumeration value="Uruguay"/>
          <xsd:enumeration value="Uzbekistan"/>
          <xsd:enumeration value="Venezuela"/>
          <xsd:enumeration value="Vietnam"/>
          <xsd:enumeration value="Yemen"/>
          <xsd:enumeration value="Zambia"/>
          <xsd:enumeration value="Zanzibar"/>
          <xsd:enumeration value="Zimbabwe"/>
        </xsd:restriction>
      </xsd:simpleType>
    </xsd:element>
    <xsd:element name="Subcategory" ma:index="12" nillable="true" ma:displayName="Sub category" ma:default="" ma:internalName="Subcategory">
      <xsd:simpleType>
        <xsd:restriction base="dms:Choice">
          <xsd:enumeration value="None"/>
        </xsd:restriction>
      </xsd:simpleType>
    </xsd:element>
    <xsd:element name="EcofysConfidential" ma:index="13" nillable="true" ma:displayName="Confidential" ma:default="0" ma:internalName="EcofysConfidential">
      <xsd:simpleType>
        <xsd:restriction base="dms:Boolea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1a9d701-4f4a-43a3-88a5-5d202ecff1c2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4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5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6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7" nillable="true" ma:displayName="Tags" ma:internalName="MediaServiceAutoTags" ma:readOnly="true">
      <xsd:simpleType>
        <xsd:restriction base="dms:Text"/>
      </xsd:simpleType>
    </xsd:element>
    <xsd:element name="MediaServiceGenerationTime" ma:index="18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9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65ED42BD-B63E-4F15-BBA7-3AD6658DE7CF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CD0424B8-95E8-4022-AA4A-1C0399C8CF87}">
  <ds:schemaRefs>
    <ds:schemaRef ds:uri="http://schemas.microsoft.com/office/2006/metadata/properties"/>
    <ds:schemaRef ds:uri="8d9b4ab4-65b9-4a08-baeb-312269dd31de"/>
    <ds:schemaRef ds:uri="http://purl.org/dc/terms/"/>
    <ds:schemaRef ds:uri="http://schemas.microsoft.com/office/2006/documentManagement/types"/>
    <ds:schemaRef ds:uri="http://schemas.openxmlformats.org/package/2006/metadata/core-properties"/>
    <ds:schemaRef ds:uri="http://schemas.microsoft.com/office/infopath/2007/PartnerControls"/>
    <ds:schemaRef ds:uri="http://purl.org/dc/elements/1.1/"/>
    <ds:schemaRef ds:uri="d1a9d701-4f4a-43a3-88a5-5d202ecff1c2"/>
    <ds:schemaRef ds:uri="http://www.w3.org/XML/1998/namespace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EE8D808E-E886-445B-A47D-ECED68E4B323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8d9b4ab4-65b9-4a08-baeb-312269dd31de"/>
    <ds:schemaRef ds:uri="d1a9d701-4f4a-43a3-88a5-5d202ecff1c2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4.3-Template_4.29.2016</Template>
  <TotalTime>17686</TotalTime>
  <Words>531</Words>
  <Application>Microsoft Office PowerPoint</Application>
  <PresentationFormat>Widescreen</PresentationFormat>
  <Paragraphs>73</Paragraphs>
  <Slides>6</Slides>
  <Notes>3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9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</vt:i4>
      </vt:variant>
    </vt:vector>
  </HeadingPairs>
  <TitlesOfParts>
    <vt:vector size="22" baseType="lpstr">
      <vt:lpstr>Arial</vt:lpstr>
      <vt:lpstr>Arial Narrow</vt:lpstr>
      <vt:lpstr>Calibri</vt:lpstr>
      <vt:lpstr>Gill Sans MT</vt:lpstr>
      <vt:lpstr>Palatino Linotype</vt:lpstr>
      <vt:lpstr>Wingdings</vt:lpstr>
      <vt:lpstr>4.3-Template_4.29.2016</vt:lpstr>
      <vt:lpstr>1_Presentation_Refresh 4:3</vt:lpstr>
      <vt:lpstr>2_4.3-Template_4.29.2016</vt:lpstr>
      <vt:lpstr>Navigant_Gray</vt:lpstr>
      <vt:lpstr>1_Navigant_Gray</vt:lpstr>
      <vt:lpstr>Presentation_Refresh 4:3</vt:lpstr>
      <vt:lpstr>2_Presentation_Refresh 4:3</vt:lpstr>
      <vt:lpstr>7_Navigant_Gray</vt:lpstr>
      <vt:lpstr>8_Navigant_Gray</vt:lpstr>
      <vt:lpstr>think-cell Slide</vt:lpstr>
      <vt:lpstr>Bringing it all together: designing a bankable auction package</vt:lpstr>
      <vt:lpstr>What:  A bankable auction package determines the willingness of lenders to extend financing</vt:lpstr>
      <vt:lpstr>Why:  a bankable auction package can lower cost of finance and price paid for electricity</vt:lpstr>
      <vt:lpstr>How: Standardized PPA</vt:lpstr>
      <vt:lpstr>How: De-risking mechanism – Stapled financing</vt:lpstr>
      <vt:lpstr>How: Guarantees and insurance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esigning Bankable Renewable Energy Auctions</dc:title>
  <dc:subject>This presentation discusses the core elements of designing a bankable auction package.</dc:subject>
  <dc:creator>Navigant--A Guidehouse Company</dc:creator>
  <cp:keywords>Renewable energy auctions, competitive procurement, tariffs, price, markets, electricity, finance, bankability</cp:keywords>
  <cp:lastModifiedBy>Bradley, Bridget</cp:lastModifiedBy>
  <cp:revision>332</cp:revision>
  <dcterms:created xsi:type="dcterms:W3CDTF">2016-05-03T20:02:08Z</dcterms:created>
  <dcterms:modified xsi:type="dcterms:W3CDTF">2020-07-03T16:58:3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1C754EF69CC447396707CDFA155F78400BC181712BA935642AACDCDFA754D68E5</vt:lpwstr>
  </property>
</Properties>
</file>